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6.xml" ContentType="application/vnd.openxmlformats-officedocument.theme+xml"/>
  <Override PartName="/ppt/tags/tag7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0" r:id="rId4"/>
    <p:sldMasterId id="2147483902" r:id="rId5"/>
    <p:sldMasterId id="2147483908" r:id="rId6"/>
    <p:sldMasterId id="2147483959" r:id="rId7"/>
    <p:sldMasterId id="2147483997" r:id="rId8"/>
    <p:sldMasterId id="2147484021" r:id="rId9"/>
  </p:sldMasterIdLst>
  <p:notesMasterIdLst>
    <p:notesMasterId r:id="rId59"/>
  </p:notesMasterIdLst>
  <p:handoutMasterIdLst>
    <p:handoutMasterId r:id="rId60"/>
  </p:handoutMasterIdLst>
  <p:sldIdLst>
    <p:sldId id="256" r:id="rId10"/>
    <p:sldId id="2147476256" r:id="rId11"/>
    <p:sldId id="2147476231" r:id="rId12"/>
    <p:sldId id="2147476269" r:id="rId13"/>
    <p:sldId id="2147476257" r:id="rId14"/>
    <p:sldId id="2147476258" r:id="rId15"/>
    <p:sldId id="2147476259" r:id="rId16"/>
    <p:sldId id="2147476260" r:id="rId17"/>
    <p:sldId id="2147476261" r:id="rId18"/>
    <p:sldId id="2147476262" r:id="rId19"/>
    <p:sldId id="2147476263" r:id="rId20"/>
    <p:sldId id="2147476264" r:id="rId21"/>
    <p:sldId id="2147476265" r:id="rId22"/>
    <p:sldId id="2147476266" r:id="rId23"/>
    <p:sldId id="2147476267" r:id="rId24"/>
    <p:sldId id="2147476268" r:id="rId25"/>
    <p:sldId id="2147476270" r:id="rId26"/>
    <p:sldId id="2147476249" r:id="rId27"/>
    <p:sldId id="2147476282" r:id="rId28"/>
    <p:sldId id="2147476274" r:id="rId29"/>
    <p:sldId id="2147476311" r:id="rId30"/>
    <p:sldId id="2147476276" r:id="rId31"/>
    <p:sldId id="2147476310" r:id="rId32"/>
    <p:sldId id="2147476284" r:id="rId33"/>
    <p:sldId id="2147476306" r:id="rId34"/>
    <p:sldId id="2147476283" r:id="rId35"/>
    <p:sldId id="2147476285" r:id="rId36"/>
    <p:sldId id="2147476295" r:id="rId37"/>
    <p:sldId id="2147476307" r:id="rId38"/>
    <p:sldId id="2147476296" r:id="rId39"/>
    <p:sldId id="2147476302" r:id="rId40"/>
    <p:sldId id="2147476303" r:id="rId41"/>
    <p:sldId id="2147476304" r:id="rId42"/>
    <p:sldId id="2147476297" r:id="rId43"/>
    <p:sldId id="2147476301" r:id="rId44"/>
    <p:sldId id="2147476298" r:id="rId45"/>
    <p:sldId id="2147476299" r:id="rId46"/>
    <p:sldId id="2147476300" r:id="rId47"/>
    <p:sldId id="2147476275" r:id="rId48"/>
    <p:sldId id="2147476251" r:id="rId49"/>
    <p:sldId id="2147476308" r:id="rId50"/>
    <p:sldId id="2147476277" r:id="rId51"/>
    <p:sldId id="2147476271" r:id="rId52"/>
    <p:sldId id="2147476279" r:id="rId53"/>
    <p:sldId id="2147476280" r:id="rId54"/>
    <p:sldId id="2147476252" r:id="rId55"/>
    <p:sldId id="2147476253" r:id="rId56"/>
    <p:sldId id="2147476254" r:id="rId57"/>
    <p:sldId id="2147476255" r:id="rId58"/>
  </p:sldIdLst>
  <p:sldSz cx="9144000" cy="6858000" type="screen4x3"/>
  <p:notesSz cx="6858000" cy="9144000"/>
  <p:custDataLst>
    <p:tags r:id="rId6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表紙" id="{22C825C2-D936-4A96-9F64-4DC74E145503}">
          <p14:sldIdLst>
            <p14:sldId id="256"/>
          </p14:sldIdLst>
        </p14:section>
        <p14:section name="目次" id="{87F60AB9-148C-473C-B690-6BA952263198}">
          <p14:sldIdLst>
            <p14:sldId id="2147476256"/>
          </p14:sldIdLst>
        </p14:section>
        <p14:section name="業務要件" id="{682FCB82-D778-471A-A3E8-B744125D7000}">
          <p14:sldIdLst>
            <p14:sldId id="2147476231"/>
            <p14:sldId id="2147476269"/>
            <p14:sldId id="2147476257"/>
            <p14:sldId id="2147476258"/>
            <p14:sldId id="2147476259"/>
            <p14:sldId id="2147476260"/>
            <p14:sldId id="2147476261"/>
            <p14:sldId id="2147476262"/>
            <p14:sldId id="2147476263"/>
            <p14:sldId id="2147476264"/>
            <p14:sldId id="2147476265"/>
            <p14:sldId id="2147476266"/>
            <p14:sldId id="2147476267"/>
            <p14:sldId id="2147476268"/>
          </p14:sldIdLst>
        </p14:section>
        <p14:section name="機能要件" id="{7AAB3A60-0D9C-43B7-9ABB-794706070368}">
          <p14:sldIdLst>
            <p14:sldId id="2147476270"/>
            <p14:sldId id="2147476249"/>
            <p14:sldId id="2147476282"/>
            <p14:sldId id="2147476274"/>
            <p14:sldId id="2147476311"/>
            <p14:sldId id="2147476276"/>
            <p14:sldId id="2147476310"/>
            <p14:sldId id="2147476284"/>
            <p14:sldId id="2147476306"/>
            <p14:sldId id="2147476283"/>
            <p14:sldId id="2147476285"/>
            <p14:sldId id="2147476295"/>
            <p14:sldId id="2147476307"/>
            <p14:sldId id="2147476296"/>
            <p14:sldId id="2147476302"/>
            <p14:sldId id="2147476303"/>
            <p14:sldId id="2147476304"/>
            <p14:sldId id="2147476297"/>
            <p14:sldId id="2147476301"/>
            <p14:sldId id="2147476298"/>
            <p14:sldId id="2147476299"/>
            <p14:sldId id="2147476300"/>
            <p14:sldId id="2147476275"/>
            <p14:sldId id="2147476251"/>
            <p14:sldId id="2147476308"/>
            <p14:sldId id="2147476277"/>
            <p14:sldId id="2147476271"/>
            <p14:sldId id="2147476279"/>
            <p14:sldId id="2147476280"/>
          </p14:sldIdLst>
        </p14:section>
        <p14:section name="非機能要件" id="{BE04E000-EADE-49AA-8236-4BA43E5B2AE4}">
          <p14:sldIdLst>
            <p14:sldId id="2147476252"/>
            <p14:sldId id="2147476253"/>
            <p14:sldId id="2147476254"/>
            <p14:sldId id="2147476255"/>
          </p14:sldIdLst>
        </p14:section>
      </p14:sectionLst>
    </p:ext>
    <p:ext uri="{EFAFB233-063F-42B5-8137-9DF3F51BA10A}">
      <p15:sldGuideLst xmlns:p15="http://schemas.microsoft.com/office/powerpoint/2012/main">
        <p15:guide id="1" orient="horz" pos="2183" userDrawn="1">
          <p15:clr>
            <a:srgbClr val="A4A3A4"/>
          </p15:clr>
        </p15:guide>
        <p15:guide id="2" pos="285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A78280B-E1DF-B73A-6EBD-5FEE4BA3E74A}" name="Hosoda, Tomohiro" initials="HT" userId="S::tohosoda@tohmatsu.co.jp::9c8240a4-75a7-4bd9-bf98-d170839b8d45" providerId="AD"/>
  <p188:author id="{40C1F043-4860-A7AA-E402-C22E6B10DFA9}" name="WANG, XINPING" initials="WX" userId="S::xinpwang@tohmatsu.co.jp::75d746b3-fb4f-4d12-ba72-dfa69b07fce1" providerId="AD"/>
  <p188:author id="{47F018F8-39CA-BB30-AFCF-518F03FC59F9}" name="Ozeki, Ryotaro" initials="OR" userId="S::rozeki@tohmatsu.co.jp::280a3305-31a8-4bd4-ad98-2bddc10f786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62E1"/>
    <a:srgbClr val="E9EDF4"/>
    <a:srgbClr val="FFFFCC"/>
    <a:srgbClr val="B3BBBF"/>
    <a:srgbClr val="75787B"/>
    <a:srgbClr val="53565A"/>
    <a:srgbClr val="6F92CC"/>
    <a:srgbClr val="FFFF00"/>
    <a:srgbClr val="A7A8AA"/>
    <a:srgbClr val="B9B9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ECFFD4-1741-4FD4-89CB-6F824F311E83}" v="8" dt="2025-07-11T09:07:23.788"/>
  </p1510:revLst>
</p1510:revInfo>
</file>

<file path=ppt/tableStyles.xml><?xml version="1.0" encoding="utf-8"?>
<a:tblStyleLst xmlns:a="http://schemas.openxmlformats.org/drawingml/2006/main" def="{5C22544A-7EE6-4342-B048-85BDC9FD1C3A}">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7853C-536D-4A76-A0AE-DD22124D55A5}" styleName="テーマ スタイル 1 - アクセント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CF1AB2-1976-4502-BF36-3FF5EA218861}" styleName="中間スタイル 4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6D9F66E-5EB9-4882-86FB-DCBF35E3C3E4}" styleName="中間スタイル 4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83"/>
        <p:guide pos="2857"/>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viewProps" Target="viewProps.xml"/><Relationship Id="rId68"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tags" Target="tags/tag1.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notesMaster" Target="notesMasters/notesMaster1.xml"/><Relationship Id="rId67" Type="http://schemas.microsoft.com/office/2015/10/relationships/revisionInfo" Target="revisionInfo.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handoutMaster" Target="handoutMasters/handout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imura, Jinichi" userId="9e18df6b-b397-4f9f-a1c6-0abee7ae91a5" providerId="ADAL" clId="{74DCEA6A-055F-4DB0-8FC4-4DBE1878CD0D}"/>
    <pc:docChg chg="undo custSel addSld delSld modSld sldOrd">
      <pc:chgData name="Iimura, Jinichi" userId="9e18df6b-b397-4f9f-a1c6-0abee7ae91a5" providerId="ADAL" clId="{74DCEA6A-055F-4DB0-8FC4-4DBE1878CD0D}" dt="2025-07-07T03:14:20.326" v="1699" actId="20577"/>
      <pc:docMkLst>
        <pc:docMk/>
      </pc:docMkLst>
      <pc:sldChg chg="modSp mod">
        <pc:chgData name="Iimura, Jinichi" userId="9e18df6b-b397-4f9f-a1c6-0abee7ae91a5" providerId="ADAL" clId="{74DCEA6A-055F-4DB0-8FC4-4DBE1878CD0D}" dt="2025-07-07T00:33:03.209" v="1137" actId="20577"/>
        <pc:sldMkLst>
          <pc:docMk/>
          <pc:sldMk cId="3665934945" sldId="256"/>
        </pc:sldMkLst>
        <pc:spChg chg="mod">
          <ac:chgData name="Iimura, Jinichi" userId="9e18df6b-b397-4f9f-a1c6-0abee7ae91a5" providerId="ADAL" clId="{74DCEA6A-055F-4DB0-8FC4-4DBE1878CD0D}" dt="2025-07-07T00:33:03.209" v="1137" actId="20577"/>
          <ac:spMkLst>
            <pc:docMk/>
            <pc:sldMk cId="3665934945" sldId="256"/>
            <ac:spMk id="13" creationId="{754FBCAA-A114-8A96-47B3-9AB10E92A7C3}"/>
          </ac:spMkLst>
        </pc:spChg>
      </pc:sldChg>
      <pc:sldChg chg="modSp">
        <pc:chgData name="Iimura, Jinichi" userId="9e18df6b-b397-4f9f-a1c6-0abee7ae91a5" providerId="ADAL" clId="{74DCEA6A-055F-4DB0-8FC4-4DBE1878CD0D}" dt="2025-07-07T00:20:16.282" v="1121"/>
        <pc:sldMkLst>
          <pc:docMk/>
          <pc:sldMk cId="1018229851" sldId="2147476231"/>
        </pc:sldMkLst>
        <pc:graphicFrameChg chg="mod">
          <ac:chgData name="Iimura, Jinichi" userId="9e18df6b-b397-4f9f-a1c6-0abee7ae91a5" providerId="ADAL" clId="{74DCEA6A-055F-4DB0-8FC4-4DBE1878CD0D}" dt="2025-07-07T00:20:16.282" v="1121"/>
          <ac:graphicFrameMkLst>
            <pc:docMk/>
            <pc:sldMk cId="1018229851" sldId="2147476231"/>
            <ac:graphicFrameMk id="9" creationId="{4489B312-54C6-AE32-AC61-F70E865CA9E9}"/>
          </ac:graphicFrameMkLst>
        </pc:graphicFrameChg>
      </pc:sldChg>
      <pc:sldChg chg="addSp delSp modSp mod">
        <pc:chgData name="Iimura, Jinichi" userId="9e18df6b-b397-4f9f-a1c6-0abee7ae91a5" providerId="ADAL" clId="{74DCEA6A-055F-4DB0-8FC4-4DBE1878CD0D}" dt="2025-07-06T16:18:11.697" v="310" actId="20577"/>
        <pc:sldMkLst>
          <pc:docMk/>
          <pc:sldMk cId="1859531097" sldId="2147476249"/>
        </pc:sldMkLst>
        <pc:spChg chg="add mod">
          <ac:chgData name="Iimura, Jinichi" userId="9e18df6b-b397-4f9f-a1c6-0abee7ae91a5" providerId="ADAL" clId="{74DCEA6A-055F-4DB0-8FC4-4DBE1878CD0D}" dt="2025-07-06T16:18:03.290" v="292" actId="20577"/>
          <ac:spMkLst>
            <pc:docMk/>
            <pc:sldMk cId="1859531097" sldId="2147476249"/>
            <ac:spMk id="10" creationId="{CE09B249-DB9A-52E0-9755-812515942275}"/>
          </ac:spMkLst>
        </pc:spChg>
        <pc:spChg chg="add mod">
          <ac:chgData name="Iimura, Jinichi" userId="9e18df6b-b397-4f9f-a1c6-0abee7ae91a5" providerId="ADAL" clId="{74DCEA6A-055F-4DB0-8FC4-4DBE1878CD0D}" dt="2025-07-06T16:18:07.520" v="301" actId="20577"/>
          <ac:spMkLst>
            <pc:docMk/>
            <pc:sldMk cId="1859531097" sldId="2147476249"/>
            <ac:spMk id="17" creationId="{05CE0A89-D92D-1642-8813-B2576F5D3461}"/>
          </ac:spMkLst>
        </pc:spChg>
        <pc:spChg chg="add mod">
          <ac:chgData name="Iimura, Jinichi" userId="9e18df6b-b397-4f9f-a1c6-0abee7ae91a5" providerId="ADAL" clId="{74DCEA6A-055F-4DB0-8FC4-4DBE1878CD0D}" dt="2025-07-06T16:17:42.830" v="283" actId="20577"/>
          <ac:spMkLst>
            <pc:docMk/>
            <pc:sldMk cId="1859531097" sldId="2147476249"/>
            <ac:spMk id="20" creationId="{3707FECD-22D8-7876-7B51-4C9A6F5217E3}"/>
          </ac:spMkLst>
        </pc:spChg>
        <pc:spChg chg="add mod">
          <ac:chgData name="Iimura, Jinichi" userId="9e18df6b-b397-4f9f-a1c6-0abee7ae91a5" providerId="ADAL" clId="{74DCEA6A-055F-4DB0-8FC4-4DBE1878CD0D}" dt="2025-07-06T16:18:11.697" v="310" actId="20577"/>
          <ac:spMkLst>
            <pc:docMk/>
            <pc:sldMk cId="1859531097" sldId="2147476249"/>
            <ac:spMk id="27" creationId="{2A6810B1-598E-B30B-1785-0D0921F09D2D}"/>
          </ac:spMkLst>
        </pc:spChg>
        <pc:spChg chg="mod">
          <ac:chgData name="Iimura, Jinichi" userId="9e18df6b-b397-4f9f-a1c6-0abee7ae91a5" providerId="ADAL" clId="{74DCEA6A-055F-4DB0-8FC4-4DBE1878CD0D}" dt="2025-07-06T16:16:49.906" v="256" actId="1076"/>
          <ac:spMkLst>
            <pc:docMk/>
            <pc:sldMk cId="1859531097" sldId="2147476249"/>
            <ac:spMk id="31" creationId="{DE966954-9564-D27C-51EC-66F29A0A4069}"/>
          </ac:spMkLst>
        </pc:spChg>
        <pc:spChg chg="mod">
          <ac:chgData name="Iimura, Jinichi" userId="9e18df6b-b397-4f9f-a1c6-0abee7ae91a5" providerId="ADAL" clId="{74DCEA6A-055F-4DB0-8FC4-4DBE1878CD0D}" dt="2025-07-06T16:16:49.906" v="256" actId="1076"/>
          <ac:spMkLst>
            <pc:docMk/>
            <pc:sldMk cId="1859531097" sldId="2147476249"/>
            <ac:spMk id="32" creationId="{20F21351-0918-6AF4-6B7C-D00F092C806B}"/>
          </ac:spMkLst>
        </pc:spChg>
        <pc:spChg chg="mod">
          <ac:chgData name="Iimura, Jinichi" userId="9e18df6b-b397-4f9f-a1c6-0abee7ae91a5" providerId="ADAL" clId="{74DCEA6A-055F-4DB0-8FC4-4DBE1878CD0D}" dt="2025-07-06T16:17:34.147" v="274" actId="20577"/>
          <ac:spMkLst>
            <pc:docMk/>
            <pc:sldMk cId="1859531097" sldId="2147476249"/>
            <ac:spMk id="33" creationId="{7727D9AC-836F-C7BB-77FC-41D54F08FE8E}"/>
          </ac:spMkLst>
        </pc:spChg>
        <pc:spChg chg="mod">
          <ac:chgData name="Iimura, Jinichi" userId="9e18df6b-b397-4f9f-a1c6-0abee7ae91a5" providerId="ADAL" clId="{74DCEA6A-055F-4DB0-8FC4-4DBE1878CD0D}" dt="2025-07-06T16:16:49.906" v="256" actId="1076"/>
          <ac:spMkLst>
            <pc:docMk/>
            <pc:sldMk cId="1859531097" sldId="2147476249"/>
            <ac:spMk id="190" creationId="{C55567AE-3707-F092-8316-53803A762EA4}"/>
          </ac:spMkLst>
        </pc:spChg>
        <pc:spChg chg="mod">
          <ac:chgData name="Iimura, Jinichi" userId="9e18df6b-b397-4f9f-a1c6-0abee7ae91a5" providerId="ADAL" clId="{74DCEA6A-055F-4DB0-8FC4-4DBE1878CD0D}" dt="2025-07-06T16:17:15.715" v="261" actId="1076"/>
          <ac:spMkLst>
            <pc:docMk/>
            <pc:sldMk cId="1859531097" sldId="2147476249"/>
            <ac:spMk id="231" creationId="{9EC5A842-4EBE-782F-14D5-422E89C12431}"/>
          </ac:spMkLst>
        </pc:spChg>
        <pc:spChg chg="del">
          <ac:chgData name="Iimura, Jinichi" userId="9e18df6b-b397-4f9f-a1c6-0abee7ae91a5" providerId="ADAL" clId="{74DCEA6A-055F-4DB0-8FC4-4DBE1878CD0D}" dt="2025-07-06T16:17:04.865" v="259" actId="478"/>
          <ac:spMkLst>
            <pc:docMk/>
            <pc:sldMk cId="1859531097" sldId="2147476249"/>
            <ac:spMk id="240" creationId="{E58B0DC1-4F9D-23DE-E5E3-5BF6B1471A3B}"/>
          </ac:spMkLst>
        </pc:spChg>
        <pc:cxnChg chg="add mod">
          <ac:chgData name="Iimura, Jinichi" userId="9e18df6b-b397-4f9f-a1c6-0abee7ae91a5" providerId="ADAL" clId="{74DCEA6A-055F-4DB0-8FC4-4DBE1878CD0D}" dt="2025-07-06T16:17:12.681" v="260" actId="1076"/>
          <ac:cxnSpMkLst>
            <pc:docMk/>
            <pc:sldMk cId="1859531097" sldId="2147476249"/>
            <ac:cxnSpMk id="25" creationId="{F445EC47-2080-14AB-0AE4-EA8E012CD0F0}"/>
          </ac:cxnSpMkLst>
        </pc:cxnChg>
        <pc:cxnChg chg="add mod">
          <ac:chgData name="Iimura, Jinichi" userId="9e18df6b-b397-4f9f-a1c6-0abee7ae91a5" providerId="ADAL" clId="{74DCEA6A-055F-4DB0-8FC4-4DBE1878CD0D}" dt="2025-07-06T16:17:12.681" v="260" actId="1076"/>
          <ac:cxnSpMkLst>
            <pc:docMk/>
            <pc:sldMk cId="1859531097" sldId="2147476249"/>
            <ac:cxnSpMk id="26" creationId="{2549CEFB-BADB-AEF5-97AC-26CD7B78FD81}"/>
          </ac:cxnSpMkLst>
        </pc:cxnChg>
        <pc:cxnChg chg="add mod">
          <ac:chgData name="Iimura, Jinichi" userId="9e18df6b-b397-4f9f-a1c6-0abee7ae91a5" providerId="ADAL" clId="{74DCEA6A-055F-4DB0-8FC4-4DBE1878CD0D}" dt="2025-07-06T16:17:12.681" v="260" actId="1076"/>
          <ac:cxnSpMkLst>
            <pc:docMk/>
            <pc:sldMk cId="1859531097" sldId="2147476249"/>
            <ac:cxnSpMk id="28" creationId="{51C3ECF9-0250-8D79-263A-9E6E1C178DB2}"/>
          </ac:cxnSpMkLst>
        </pc:cxnChg>
        <pc:cxnChg chg="add mod">
          <ac:chgData name="Iimura, Jinichi" userId="9e18df6b-b397-4f9f-a1c6-0abee7ae91a5" providerId="ADAL" clId="{74DCEA6A-055F-4DB0-8FC4-4DBE1878CD0D}" dt="2025-07-06T16:17:21.512" v="264" actId="14100"/>
          <ac:cxnSpMkLst>
            <pc:docMk/>
            <pc:sldMk cId="1859531097" sldId="2147476249"/>
            <ac:cxnSpMk id="30" creationId="{1AF535EB-D18D-7F19-9F12-A06DD512360C}"/>
          </ac:cxnSpMkLst>
        </pc:cxnChg>
        <pc:cxnChg chg="mod">
          <ac:chgData name="Iimura, Jinichi" userId="9e18df6b-b397-4f9f-a1c6-0abee7ae91a5" providerId="ADAL" clId="{74DCEA6A-055F-4DB0-8FC4-4DBE1878CD0D}" dt="2025-07-06T16:17:30.720" v="266" actId="1076"/>
          <ac:cxnSpMkLst>
            <pc:docMk/>
            <pc:sldMk cId="1859531097" sldId="2147476249"/>
            <ac:cxnSpMk id="42" creationId="{86859C7E-7FD0-D7D3-97EE-D8740818B5EF}"/>
          </ac:cxnSpMkLst>
        </pc:cxnChg>
        <pc:cxnChg chg="mod">
          <ac:chgData name="Iimura, Jinichi" userId="9e18df6b-b397-4f9f-a1c6-0abee7ae91a5" providerId="ADAL" clId="{74DCEA6A-055F-4DB0-8FC4-4DBE1878CD0D}" dt="2025-07-06T16:17:30.720" v="266" actId="1076"/>
          <ac:cxnSpMkLst>
            <pc:docMk/>
            <pc:sldMk cId="1859531097" sldId="2147476249"/>
            <ac:cxnSpMk id="43" creationId="{DD12EB4E-0D15-3098-CB9D-4B2325F7BD60}"/>
          </ac:cxnSpMkLst>
        </pc:cxnChg>
        <pc:cxnChg chg="mod">
          <ac:chgData name="Iimura, Jinichi" userId="9e18df6b-b397-4f9f-a1c6-0abee7ae91a5" providerId="ADAL" clId="{74DCEA6A-055F-4DB0-8FC4-4DBE1878CD0D}" dt="2025-07-06T16:17:30.720" v="266" actId="1076"/>
          <ac:cxnSpMkLst>
            <pc:docMk/>
            <pc:sldMk cId="1859531097" sldId="2147476249"/>
            <ac:cxnSpMk id="54" creationId="{8D8F976A-8A31-9743-FFFD-47DB879400C1}"/>
          </ac:cxnSpMkLst>
        </pc:cxnChg>
        <pc:cxnChg chg="mod">
          <ac:chgData name="Iimura, Jinichi" userId="9e18df6b-b397-4f9f-a1c6-0abee7ae91a5" providerId="ADAL" clId="{74DCEA6A-055F-4DB0-8FC4-4DBE1878CD0D}" dt="2025-07-06T16:16:49.906" v="256" actId="1076"/>
          <ac:cxnSpMkLst>
            <pc:docMk/>
            <pc:sldMk cId="1859531097" sldId="2147476249"/>
            <ac:cxnSpMk id="191" creationId="{D235A8C2-A922-3CB2-4C23-681D6A954D7B}"/>
          </ac:cxnSpMkLst>
        </pc:cxnChg>
        <pc:cxnChg chg="mod">
          <ac:chgData name="Iimura, Jinichi" userId="9e18df6b-b397-4f9f-a1c6-0abee7ae91a5" providerId="ADAL" clId="{74DCEA6A-055F-4DB0-8FC4-4DBE1878CD0D}" dt="2025-07-06T16:17:15.715" v="261" actId="1076"/>
          <ac:cxnSpMkLst>
            <pc:docMk/>
            <pc:sldMk cId="1859531097" sldId="2147476249"/>
            <ac:cxnSpMk id="213" creationId="{40D357F1-44D3-A0A7-8E5F-A45522C2D9A2}"/>
          </ac:cxnSpMkLst>
        </pc:cxnChg>
      </pc:sldChg>
      <pc:sldChg chg="modSp mod">
        <pc:chgData name="Iimura, Jinichi" userId="9e18df6b-b397-4f9f-a1c6-0abee7ae91a5" providerId="ADAL" clId="{74DCEA6A-055F-4DB0-8FC4-4DBE1878CD0D}" dt="2025-07-07T03:02:13.958" v="1616" actId="404"/>
        <pc:sldMkLst>
          <pc:docMk/>
          <pc:sldMk cId="714483222" sldId="2147476251"/>
        </pc:sldMkLst>
        <pc:spChg chg="mod">
          <ac:chgData name="Iimura, Jinichi" userId="9e18df6b-b397-4f9f-a1c6-0abee7ae91a5" providerId="ADAL" clId="{74DCEA6A-055F-4DB0-8FC4-4DBE1878CD0D}" dt="2025-07-07T03:02:13.958" v="1616" actId="404"/>
          <ac:spMkLst>
            <pc:docMk/>
            <pc:sldMk cId="714483222" sldId="2147476251"/>
            <ac:spMk id="5" creationId="{CA9AD951-AB0A-F544-7224-4DC94CDD3179}"/>
          </ac:spMkLst>
        </pc:spChg>
        <pc:spChg chg="mod">
          <ac:chgData name="Iimura, Jinichi" userId="9e18df6b-b397-4f9f-a1c6-0abee7ae91a5" providerId="ADAL" clId="{74DCEA6A-055F-4DB0-8FC4-4DBE1878CD0D}" dt="2025-07-06T23:09:25.027" v="851" actId="1076"/>
          <ac:spMkLst>
            <pc:docMk/>
            <pc:sldMk cId="714483222" sldId="2147476251"/>
            <ac:spMk id="12" creationId="{D887B3BB-0516-21F0-A43B-E49958BA6439}"/>
          </ac:spMkLst>
        </pc:spChg>
        <pc:spChg chg="mod">
          <ac:chgData name="Iimura, Jinichi" userId="9e18df6b-b397-4f9f-a1c6-0abee7ae91a5" providerId="ADAL" clId="{74DCEA6A-055F-4DB0-8FC4-4DBE1878CD0D}" dt="2025-07-06T23:09:25.027" v="851" actId="1076"/>
          <ac:spMkLst>
            <pc:docMk/>
            <pc:sldMk cId="714483222" sldId="2147476251"/>
            <ac:spMk id="13" creationId="{98411CF8-7957-1DA7-507D-8963724BFDFC}"/>
          </ac:spMkLst>
        </pc:spChg>
        <pc:spChg chg="mod">
          <ac:chgData name="Iimura, Jinichi" userId="9e18df6b-b397-4f9f-a1c6-0abee7ae91a5" providerId="ADAL" clId="{74DCEA6A-055F-4DB0-8FC4-4DBE1878CD0D}" dt="2025-07-06T23:09:25.027" v="851" actId="1076"/>
          <ac:spMkLst>
            <pc:docMk/>
            <pc:sldMk cId="714483222" sldId="2147476251"/>
            <ac:spMk id="14" creationId="{97031C94-F35D-9884-1E15-65AB6E2D96E2}"/>
          </ac:spMkLst>
        </pc:spChg>
        <pc:spChg chg="mod">
          <ac:chgData name="Iimura, Jinichi" userId="9e18df6b-b397-4f9f-a1c6-0abee7ae91a5" providerId="ADAL" clId="{74DCEA6A-055F-4DB0-8FC4-4DBE1878CD0D}" dt="2025-07-06T23:09:25.027" v="851" actId="1076"/>
          <ac:spMkLst>
            <pc:docMk/>
            <pc:sldMk cId="714483222" sldId="2147476251"/>
            <ac:spMk id="15" creationId="{D043DB06-DDA6-5B1D-907B-272BC84915FE}"/>
          </ac:spMkLst>
        </pc:spChg>
      </pc:sldChg>
      <pc:sldChg chg="modSp mod">
        <pc:chgData name="Iimura, Jinichi" userId="9e18df6b-b397-4f9f-a1c6-0abee7ae91a5" providerId="ADAL" clId="{74DCEA6A-055F-4DB0-8FC4-4DBE1878CD0D}" dt="2025-07-07T03:01:44.955" v="1611" actId="20577"/>
        <pc:sldMkLst>
          <pc:docMk/>
          <pc:sldMk cId="3355206452" sldId="2147476255"/>
        </pc:sldMkLst>
        <pc:spChg chg="mod">
          <ac:chgData name="Iimura, Jinichi" userId="9e18df6b-b397-4f9f-a1c6-0abee7ae91a5" providerId="ADAL" clId="{74DCEA6A-055F-4DB0-8FC4-4DBE1878CD0D}" dt="2025-07-07T03:01:44.955" v="1611" actId="20577"/>
          <ac:spMkLst>
            <pc:docMk/>
            <pc:sldMk cId="3355206452" sldId="2147476255"/>
            <ac:spMk id="3" creationId="{1E34451F-92DA-79B3-D1F0-D2B52A45005B}"/>
          </ac:spMkLst>
        </pc:spChg>
      </pc:sldChg>
      <pc:sldChg chg="addSp delSp modSp mod">
        <pc:chgData name="Iimura, Jinichi" userId="9e18df6b-b397-4f9f-a1c6-0abee7ae91a5" providerId="ADAL" clId="{74DCEA6A-055F-4DB0-8FC4-4DBE1878CD0D}" dt="2025-07-07T02:22:22.726" v="1428"/>
        <pc:sldMkLst>
          <pc:docMk/>
          <pc:sldMk cId="675257603" sldId="2147476257"/>
        </pc:sldMkLst>
        <pc:spChg chg="add mod">
          <ac:chgData name="Iimura, Jinichi" userId="9e18df6b-b397-4f9f-a1c6-0abee7ae91a5" providerId="ADAL" clId="{74DCEA6A-055F-4DB0-8FC4-4DBE1878CD0D}" dt="2025-07-07T02:22:18.192" v="1425"/>
          <ac:spMkLst>
            <pc:docMk/>
            <pc:sldMk cId="675257603" sldId="2147476257"/>
            <ac:spMk id="17" creationId="{56F6F080-758E-7B2D-70FF-326ABED07788}"/>
          </ac:spMkLst>
        </pc:spChg>
        <pc:spChg chg="add mod">
          <ac:chgData name="Iimura, Jinichi" userId="9e18df6b-b397-4f9f-a1c6-0abee7ae91a5" providerId="ADAL" clId="{74DCEA6A-055F-4DB0-8FC4-4DBE1878CD0D}" dt="2025-07-07T02:22:20.456" v="1426"/>
          <ac:spMkLst>
            <pc:docMk/>
            <pc:sldMk cId="675257603" sldId="2147476257"/>
            <ac:spMk id="19" creationId="{41CF03B4-CA3D-3E49-1692-885A59784E05}"/>
          </ac:spMkLst>
        </pc:spChg>
        <pc:spChg chg="add mod">
          <ac:chgData name="Iimura, Jinichi" userId="9e18df6b-b397-4f9f-a1c6-0abee7ae91a5" providerId="ADAL" clId="{74DCEA6A-055F-4DB0-8FC4-4DBE1878CD0D}" dt="2025-07-07T02:22:22.726" v="1428"/>
          <ac:spMkLst>
            <pc:docMk/>
            <pc:sldMk cId="675257603" sldId="2147476257"/>
            <ac:spMk id="20" creationId="{942FE903-F8E0-4BB7-4270-EDE421B63713}"/>
          </ac:spMkLst>
        </pc:spChg>
        <pc:spChg chg="del">
          <ac:chgData name="Iimura, Jinichi" userId="9e18df6b-b397-4f9f-a1c6-0abee7ae91a5" providerId="ADAL" clId="{74DCEA6A-055F-4DB0-8FC4-4DBE1878CD0D}" dt="2025-07-07T02:22:22.213" v="1427" actId="478"/>
          <ac:spMkLst>
            <pc:docMk/>
            <pc:sldMk cId="675257603" sldId="2147476257"/>
            <ac:spMk id="128" creationId="{CD2E612C-E5FE-F40E-FC43-773A61ADB443}"/>
          </ac:spMkLst>
        </pc:spChg>
      </pc:sldChg>
      <pc:sldChg chg="modSp mod">
        <pc:chgData name="Iimura, Jinichi" userId="9e18df6b-b397-4f9f-a1c6-0abee7ae91a5" providerId="ADAL" clId="{74DCEA6A-055F-4DB0-8FC4-4DBE1878CD0D}" dt="2025-07-07T02:21:57.255" v="1424" actId="20577"/>
        <pc:sldMkLst>
          <pc:docMk/>
          <pc:sldMk cId="101618977" sldId="2147476258"/>
        </pc:sldMkLst>
        <pc:spChg chg="mod">
          <ac:chgData name="Iimura, Jinichi" userId="9e18df6b-b397-4f9f-a1c6-0abee7ae91a5" providerId="ADAL" clId="{74DCEA6A-055F-4DB0-8FC4-4DBE1878CD0D}" dt="2025-07-07T02:16:32.880" v="1367"/>
          <ac:spMkLst>
            <pc:docMk/>
            <pc:sldMk cId="101618977" sldId="2147476258"/>
            <ac:spMk id="3" creationId="{AD04AFEF-C73B-87E0-C3D3-C42C2F3ACF7F}"/>
          </ac:spMkLst>
        </pc:spChg>
        <pc:spChg chg="mod">
          <ac:chgData name="Iimura, Jinichi" userId="9e18df6b-b397-4f9f-a1c6-0abee7ae91a5" providerId="ADAL" clId="{74DCEA6A-055F-4DB0-8FC4-4DBE1878CD0D}" dt="2025-07-07T02:21:57.255" v="1424" actId="20577"/>
          <ac:spMkLst>
            <pc:docMk/>
            <pc:sldMk cId="101618977" sldId="2147476258"/>
            <ac:spMk id="12" creationId="{3F1CB8D0-91A0-E355-F5FD-7C5C7BB4C62C}"/>
          </ac:spMkLst>
        </pc:spChg>
      </pc:sldChg>
      <pc:sldChg chg="addSp delSp modSp mod">
        <pc:chgData name="Iimura, Jinichi" userId="9e18df6b-b397-4f9f-a1c6-0abee7ae91a5" providerId="ADAL" clId="{74DCEA6A-055F-4DB0-8FC4-4DBE1878CD0D}" dt="2025-07-07T02:22:43.886" v="1441" actId="20577"/>
        <pc:sldMkLst>
          <pc:docMk/>
          <pc:sldMk cId="2667598407" sldId="2147476259"/>
        </pc:sldMkLst>
        <pc:spChg chg="del">
          <ac:chgData name="Iimura, Jinichi" userId="9e18df6b-b397-4f9f-a1c6-0abee7ae91a5" providerId="ADAL" clId="{74DCEA6A-055F-4DB0-8FC4-4DBE1878CD0D}" dt="2025-07-07T02:22:26.962" v="1429" actId="478"/>
          <ac:spMkLst>
            <pc:docMk/>
            <pc:sldMk cId="2667598407" sldId="2147476259"/>
            <ac:spMk id="7" creationId="{70550DE0-5081-8B37-73A5-A508F201C67C}"/>
          </ac:spMkLst>
        </pc:spChg>
        <pc:spChg chg="mod">
          <ac:chgData name="Iimura, Jinichi" userId="9e18df6b-b397-4f9f-a1c6-0abee7ae91a5" providerId="ADAL" clId="{74DCEA6A-055F-4DB0-8FC4-4DBE1878CD0D}" dt="2025-07-07T02:22:43.886" v="1441" actId="20577"/>
          <ac:spMkLst>
            <pc:docMk/>
            <pc:sldMk cId="2667598407" sldId="2147476259"/>
            <ac:spMk id="13" creationId="{C8E52640-3D48-7D1B-860A-87767900FF82}"/>
          </ac:spMkLst>
        </pc:spChg>
        <pc:spChg chg="mod">
          <ac:chgData name="Iimura, Jinichi" userId="9e18df6b-b397-4f9f-a1c6-0abee7ae91a5" providerId="ADAL" clId="{74DCEA6A-055F-4DB0-8FC4-4DBE1878CD0D}" dt="2025-07-07T02:16:54.157" v="1372" actId="20577"/>
          <ac:spMkLst>
            <pc:docMk/>
            <pc:sldMk cId="2667598407" sldId="2147476259"/>
            <ac:spMk id="14" creationId="{E8D7D17C-792A-B5C6-D86C-40A5BF79711E}"/>
          </ac:spMkLst>
        </pc:spChg>
        <pc:spChg chg="add mod">
          <ac:chgData name="Iimura, Jinichi" userId="9e18df6b-b397-4f9f-a1c6-0abee7ae91a5" providerId="ADAL" clId="{74DCEA6A-055F-4DB0-8FC4-4DBE1878CD0D}" dt="2025-07-07T02:22:27.530" v="1430"/>
          <ac:spMkLst>
            <pc:docMk/>
            <pc:sldMk cId="2667598407" sldId="2147476259"/>
            <ac:spMk id="19" creationId="{0EFC0310-35E2-FC1B-2CCD-F289F4EB72B6}"/>
          </ac:spMkLst>
        </pc:spChg>
        <pc:spChg chg="add mod">
          <ac:chgData name="Iimura, Jinichi" userId="9e18df6b-b397-4f9f-a1c6-0abee7ae91a5" providerId="ADAL" clId="{74DCEA6A-055F-4DB0-8FC4-4DBE1878CD0D}" dt="2025-07-07T02:22:34.086" v="1432"/>
          <ac:spMkLst>
            <pc:docMk/>
            <pc:sldMk cId="2667598407" sldId="2147476259"/>
            <ac:spMk id="22" creationId="{6EB966E5-41DA-C969-1FAB-A3BA636AE738}"/>
          </ac:spMkLst>
        </pc:spChg>
      </pc:sldChg>
      <pc:sldChg chg="addSp delSp modSp mod">
        <pc:chgData name="Iimura, Jinichi" userId="9e18df6b-b397-4f9f-a1c6-0abee7ae91a5" providerId="ADAL" clId="{74DCEA6A-055F-4DB0-8FC4-4DBE1878CD0D}" dt="2025-07-07T02:22:49.624" v="1443"/>
        <pc:sldMkLst>
          <pc:docMk/>
          <pc:sldMk cId="2836140363" sldId="2147476260"/>
        </pc:sldMkLst>
        <pc:spChg chg="mod">
          <ac:chgData name="Iimura, Jinichi" userId="9e18df6b-b397-4f9f-a1c6-0abee7ae91a5" providerId="ADAL" clId="{74DCEA6A-055F-4DB0-8FC4-4DBE1878CD0D}" dt="2025-07-07T02:16:57.999" v="1374"/>
          <ac:spMkLst>
            <pc:docMk/>
            <pc:sldMk cId="2836140363" sldId="2147476260"/>
            <ac:spMk id="7" creationId="{B3228611-43C5-0AEB-B064-A738C777E8F4}"/>
          </ac:spMkLst>
        </pc:spChg>
        <pc:spChg chg="add mod">
          <ac:chgData name="Iimura, Jinichi" userId="9e18df6b-b397-4f9f-a1c6-0abee7ae91a5" providerId="ADAL" clId="{74DCEA6A-055F-4DB0-8FC4-4DBE1878CD0D}" dt="2025-07-07T02:22:49.624" v="1443"/>
          <ac:spMkLst>
            <pc:docMk/>
            <pc:sldMk cId="2836140363" sldId="2147476260"/>
            <ac:spMk id="9" creationId="{E886AB72-2D96-18D0-8E91-35538F55D3FF}"/>
          </ac:spMkLst>
        </pc:spChg>
        <pc:spChg chg="del">
          <ac:chgData name="Iimura, Jinichi" userId="9e18df6b-b397-4f9f-a1c6-0abee7ae91a5" providerId="ADAL" clId="{74DCEA6A-055F-4DB0-8FC4-4DBE1878CD0D}" dt="2025-07-07T02:22:49.327" v="1442" actId="478"/>
          <ac:spMkLst>
            <pc:docMk/>
            <pc:sldMk cId="2836140363" sldId="2147476260"/>
            <ac:spMk id="42" creationId="{F9CD7E0A-4758-2B8C-70D7-B05008C7113E}"/>
          </ac:spMkLst>
        </pc:spChg>
      </pc:sldChg>
      <pc:sldChg chg="addSp delSp modSp mod">
        <pc:chgData name="Iimura, Jinichi" userId="9e18df6b-b397-4f9f-a1c6-0abee7ae91a5" providerId="ADAL" clId="{74DCEA6A-055F-4DB0-8FC4-4DBE1878CD0D}" dt="2025-07-07T02:22:53.724" v="1445"/>
        <pc:sldMkLst>
          <pc:docMk/>
          <pc:sldMk cId="3293536473" sldId="2147476261"/>
        </pc:sldMkLst>
        <pc:spChg chg="del">
          <ac:chgData name="Iimura, Jinichi" userId="9e18df6b-b397-4f9f-a1c6-0abee7ae91a5" providerId="ADAL" clId="{74DCEA6A-055F-4DB0-8FC4-4DBE1878CD0D}" dt="2025-07-07T02:22:53.539" v="1444" actId="478"/>
          <ac:spMkLst>
            <pc:docMk/>
            <pc:sldMk cId="3293536473" sldId="2147476261"/>
            <ac:spMk id="3" creationId="{2DA54B04-FE13-ED48-C342-61CB5A8ADDDC}"/>
          </ac:spMkLst>
        </pc:spChg>
        <pc:spChg chg="add mod">
          <ac:chgData name="Iimura, Jinichi" userId="9e18df6b-b397-4f9f-a1c6-0abee7ae91a5" providerId="ADAL" clId="{74DCEA6A-055F-4DB0-8FC4-4DBE1878CD0D}" dt="2025-07-07T02:22:53.724" v="1445"/>
          <ac:spMkLst>
            <pc:docMk/>
            <pc:sldMk cId="3293536473" sldId="2147476261"/>
            <ac:spMk id="9" creationId="{2C6D1BB8-53BD-D5EC-75C5-DCA3FCBC2492}"/>
          </ac:spMkLst>
        </pc:spChg>
      </pc:sldChg>
      <pc:sldChg chg="addSp delSp modSp mod">
        <pc:chgData name="Iimura, Jinichi" userId="9e18df6b-b397-4f9f-a1c6-0abee7ae91a5" providerId="ADAL" clId="{74DCEA6A-055F-4DB0-8FC4-4DBE1878CD0D}" dt="2025-07-07T02:22:57.675" v="1447"/>
        <pc:sldMkLst>
          <pc:docMk/>
          <pc:sldMk cId="3971923513" sldId="2147476262"/>
        </pc:sldMkLst>
        <pc:spChg chg="del">
          <ac:chgData name="Iimura, Jinichi" userId="9e18df6b-b397-4f9f-a1c6-0abee7ae91a5" providerId="ADAL" clId="{74DCEA6A-055F-4DB0-8FC4-4DBE1878CD0D}" dt="2025-07-07T02:22:57.516" v="1446" actId="478"/>
          <ac:spMkLst>
            <pc:docMk/>
            <pc:sldMk cId="3971923513" sldId="2147476262"/>
            <ac:spMk id="7" creationId="{F466853D-0EE6-1BD3-2E09-690A88FCF23A}"/>
          </ac:spMkLst>
        </pc:spChg>
        <pc:spChg chg="add mod">
          <ac:chgData name="Iimura, Jinichi" userId="9e18df6b-b397-4f9f-a1c6-0abee7ae91a5" providerId="ADAL" clId="{74DCEA6A-055F-4DB0-8FC4-4DBE1878CD0D}" dt="2025-07-07T02:22:57.675" v="1447"/>
          <ac:spMkLst>
            <pc:docMk/>
            <pc:sldMk cId="3971923513" sldId="2147476262"/>
            <ac:spMk id="23" creationId="{7BC17EBD-9488-A8BB-A430-FA22707154DC}"/>
          </ac:spMkLst>
        </pc:spChg>
      </pc:sldChg>
      <pc:sldChg chg="addSp delSp modSp mod">
        <pc:chgData name="Iimura, Jinichi" userId="9e18df6b-b397-4f9f-a1c6-0abee7ae91a5" providerId="ADAL" clId="{74DCEA6A-055F-4DB0-8FC4-4DBE1878CD0D}" dt="2025-07-07T02:23:01.519" v="1449"/>
        <pc:sldMkLst>
          <pc:docMk/>
          <pc:sldMk cId="3497228410" sldId="2147476263"/>
        </pc:sldMkLst>
        <pc:spChg chg="add mod">
          <ac:chgData name="Iimura, Jinichi" userId="9e18df6b-b397-4f9f-a1c6-0abee7ae91a5" providerId="ADAL" clId="{74DCEA6A-055F-4DB0-8FC4-4DBE1878CD0D}" dt="2025-07-07T02:23:01.519" v="1449"/>
          <ac:spMkLst>
            <pc:docMk/>
            <pc:sldMk cId="3497228410" sldId="2147476263"/>
            <ac:spMk id="3" creationId="{487C0541-FF2B-23A0-BB9D-91722A6A7530}"/>
          </ac:spMkLst>
        </pc:spChg>
        <pc:spChg chg="del">
          <ac:chgData name="Iimura, Jinichi" userId="9e18df6b-b397-4f9f-a1c6-0abee7ae91a5" providerId="ADAL" clId="{74DCEA6A-055F-4DB0-8FC4-4DBE1878CD0D}" dt="2025-07-07T02:23:01.252" v="1448" actId="478"/>
          <ac:spMkLst>
            <pc:docMk/>
            <pc:sldMk cId="3497228410" sldId="2147476263"/>
            <ac:spMk id="9" creationId="{643B94B0-15D2-15F5-50BF-7115FA1843CC}"/>
          </ac:spMkLst>
        </pc:spChg>
      </pc:sldChg>
      <pc:sldChg chg="addSp delSp modSp mod">
        <pc:chgData name="Iimura, Jinichi" userId="9e18df6b-b397-4f9f-a1c6-0abee7ae91a5" providerId="ADAL" clId="{74DCEA6A-055F-4DB0-8FC4-4DBE1878CD0D}" dt="2025-07-07T02:23:05.319" v="1451"/>
        <pc:sldMkLst>
          <pc:docMk/>
          <pc:sldMk cId="3687552412" sldId="2147476264"/>
        </pc:sldMkLst>
        <pc:spChg chg="add mod">
          <ac:chgData name="Iimura, Jinichi" userId="9e18df6b-b397-4f9f-a1c6-0abee7ae91a5" providerId="ADAL" clId="{74DCEA6A-055F-4DB0-8FC4-4DBE1878CD0D}" dt="2025-07-07T02:23:05.319" v="1451"/>
          <ac:spMkLst>
            <pc:docMk/>
            <pc:sldMk cId="3687552412" sldId="2147476264"/>
            <ac:spMk id="3" creationId="{EF1CF8B0-BCAF-092C-E814-211E1F0C7D99}"/>
          </ac:spMkLst>
        </pc:spChg>
        <pc:spChg chg="del">
          <ac:chgData name="Iimura, Jinichi" userId="9e18df6b-b397-4f9f-a1c6-0abee7ae91a5" providerId="ADAL" clId="{74DCEA6A-055F-4DB0-8FC4-4DBE1878CD0D}" dt="2025-07-07T02:23:05.054" v="1450" actId="478"/>
          <ac:spMkLst>
            <pc:docMk/>
            <pc:sldMk cId="3687552412" sldId="2147476264"/>
            <ac:spMk id="32" creationId="{27AAF5E4-9DD3-ACB7-922A-42B5FC6DDC7E}"/>
          </ac:spMkLst>
        </pc:spChg>
      </pc:sldChg>
      <pc:sldChg chg="addSp delSp modSp mod">
        <pc:chgData name="Iimura, Jinichi" userId="9e18df6b-b397-4f9f-a1c6-0abee7ae91a5" providerId="ADAL" clId="{74DCEA6A-055F-4DB0-8FC4-4DBE1878CD0D}" dt="2025-07-07T02:23:09.143" v="1453"/>
        <pc:sldMkLst>
          <pc:docMk/>
          <pc:sldMk cId="1642234751" sldId="2147476265"/>
        </pc:sldMkLst>
        <pc:spChg chg="del">
          <ac:chgData name="Iimura, Jinichi" userId="9e18df6b-b397-4f9f-a1c6-0abee7ae91a5" providerId="ADAL" clId="{74DCEA6A-055F-4DB0-8FC4-4DBE1878CD0D}" dt="2025-07-07T02:23:08.971" v="1452" actId="478"/>
          <ac:spMkLst>
            <pc:docMk/>
            <pc:sldMk cId="1642234751" sldId="2147476265"/>
            <ac:spMk id="2" creationId="{10E57242-FD34-0C6F-79A0-CE52B222266C}"/>
          </ac:spMkLst>
        </pc:spChg>
        <pc:spChg chg="add mod">
          <ac:chgData name="Iimura, Jinichi" userId="9e18df6b-b397-4f9f-a1c6-0abee7ae91a5" providerId="ADAL" clId="{74DCEA6A-055F-4DB0-8FC4-4DBE1878CD0D}" dt="2025-07-07T02:23:09.143" v="1453"/>
          <ac:spMkLst>
            <pc:docMk/>
            <pc:sldMk cId="1642234751" sldId="2147476265"/>
            <ac:spMk id="9" creationId="{189DF1B8-BE17-6D08-DA8A-ED9D12A82020}"/>
          </ac:spMkLst>
        </pc:spChg>
        <pc:spChg chg="mod">
          <ac:chgData name="Iimura, Jinichi" userId="9e18df6b-b397-4f9f-a1c6-0abee7ae91a5" providerId="ADAL" clId="{74DCEA6A-055F-4DB0-8FC4-4DBE1878CD0D}" dt="2025-07-07T00:20:48.136" v="1123" actId="20577"/>
          <ac:spMkLst>
            <pc:docMk/>
            <pc:sldMk cId="1642234751" sldId="2147476265"/>
            <ac:spMk id="14" creationId="{CA212066-292B-6811-E469-469059AAEFED}"/>
          </ac:spMkLst>
        </pc:spChg>
      </pc:sldChg>
      <pc:sldChg chg="addSp delSp modSp mod">
        <pc:chgData name="Iimura, Jinichi" userId="9e18df6b-b397-4f9f-a1c6-0abee7ae91a5" providerId="ADAL" clId="{74DCEA6A-055F-4DB0-8FC4-4DBE1878CD0D}" dt="2025-07-07T02:23:14.048" v="1455"/>
        <pc:sldMkLst>
          <pc:docMk/>
          <pc:sldMk cId="3734469208" sldId="2147476266"/>
        </pc:sldMkLst>
        <pc:spChg chg="add mod">
          <ac:chgData name="Iimura, Jinichi" userId="9e18df6b-b397-4f9f-a1c6-0abee7ae91a5" providerId="ADAL" clId="{74DCEA6A-055F-4DB0-8FC4-4DBE1878CD0D}" dt="2025-07-07T02:23:14.048" v="1455"/>
          <ac:spMkLst>
            <pc:docMk/>
            <pc:sldMk cId="3734469208" sldId="2147476266"/>
            <ac:spMk id="7" creationId="{41290CB5-F90F-60C6-D36C-C218E9169F4A}"/>
          </ac:spMkLst>
        </pc:spChg>
        <pc:spChg chg="del">
          <ac:chgData name="Iimura, Jinichi" userId="9e18df6b-b397-4f9f-a1c6-0abee7ae91a5" providerId="ADAL" clId="{74DCEA6A-055F-4DB0-8FC4-4DBE1878CD0D}" dt="2025-07-07T02:23:13.860" v="1454" actId="478"/>
          <ac:spMkLst>
            <pc:docMk/>
            <pc:sldMk cId="3734469208" sldId="2147476266"/>
            <ac:spMk id="8" creationId="{ED5888A6-8334-FB0D-F832-3146DC189E9C}"/>
          </ac:spMkLst>
        </pc:spChg>
      </pc:sldChg>
      <pc:sldChg chg="addSp delSp modSp mod">
        <pc:chgData name="Iimura, Jinichi" userId="9e18df6b-b397-4f9f-a1c6-0abee7ae91a5" providerId="ADAL" clId="{74DCEA6A-055F-4DB0-8FC4-4DBE1878CD0D}" dt="2025-07-07T03:02:37.900" v="1619"/>
        <pc:sldMkLst>
          <pc:docMk/>
          <pc:sldMk cId="2641857341" sldId="2147476267"/>
        </pc:sldMkLst>
        <pc:spChg chg="add mod">
          <ac:chgData name="Iimura, Jinichi" userId="9e18df6b-b397-4f9f-a1c6-0abee7ae91a5" providerId="ADAL" clId="{74DCEA6A-055F-4DB0-8FC4-4DBE1878CD0D}" dt="2025-07-07T03:02:37.900" v="1619"/>
          <ac:spMkLst>
            <pc:docMk/>
            <pc:sldMk cId="2641857341" sldId="2147476267"/>
            <ac:spMk id="11" creationId="{697DF5E1-73C1-F17E-B0BC-E95A7EF6C8DC}"/>
          </ac:spMkLst>
        </pc:spChg>
        <pc:spChg chg="del">
          <ac:chgData name="Iimura, Jinichi" userId="9e18df6b-b397-4f9f-a1c6-0abee7ae91a5" providerId="ADAL" clId="{74DCEA6A-055F-4DB0-8FC4-4DBE1878CD0D}" dt="2025-07-07T03:02:37.673" v="1618" actId="478"/>
          <ac:spMkLst>
            <pc:docMk/>
            <pc:sldMk cId="2641857341" sldId="2147476267"/>
            <ac:spMk id="15" creationId="{6C9FFC0E-FF66-08A5-4748-68A12D189471}"/>
          </ac:spMkLst>
        </pc:spChg>
      </pc:sldChg>
      <pc:sldChg chg="modSp mod">
        <pc:chgData name="Iimura, Jinichi" userId="9e18df6b-b397-4f9f-a1c6-0abee7ae91a5" providerId="ADAL" clId="{74DCEA6A-055F-4DB0-8FC4-4DBE1878CD0D}" dt="2025-07-07T00:33:22.693" v="1171" actId="20577"/>
        <pc:sldMkLst>
          <pc:docMk/>
          <pc:sldMk cId="1362544405" sldId="2147476269"/>
        </pc:sldMkLst>
        <pc:graphicFrameChg chg="modGraphic">
          <ac:chgData name="Iimura, Jinichi" userId="9e18df6b-b397-4f9f-a1c6-0abee7ae91a5" providerId="ADAL" clId="{74DCEA6A-055F-4DB0-8FC4-4DBE1878CD0D}" dt="2025-07-07T00:33:22.693" v="1171" actId="20577"/>
          <ac:graphicFrameMkLst>
            <pc:docMk/>
            <pc:sldMk cId="1362544405" sldId="2147476269"/>
            <ac:graphicFrameMk id="9" creationId="{4489B312-54C6-AE32-AC61-F70E865CA9E9}"/>
          </ac:graphicFrameMkLst>
        </pc:graphicFrameChg>
      </pc:sldChg>
      <pc:sldChg chg="modSp mod">
        <pc:chgData name="Iimura, Jinichi" userId="9e18df6b-b397-4f9f-a1c6-0abee7ae91a5" providerId="ADAL" clId="{74DCEA6A-055F-4DB0-8FC4-4DBE1878CD0D}" dt="2025-07-07T03:02:03.253" v="1613" actId="404"/>
        <pc:sldMkLst>
          <pc:docMk/>
          <pc:sldMk cId="4265059628" sldId="2147476271"/>
        </pc:sldMkLst>
        <pc:spChg chg="mod">
          <ac:chgData name="Iimura, Jinichi" userId="9e18df6b-b397-4f9f-a1c6-0abee7ae91a5" providerId="ADAL" clId="{74DCEA6A-055F-4DB0-8FC4-4DBE1878CD0D}" dt="2025-07-07T03:02:03.253" v="1613" actId="404"/>
          <ac:spMkLst>
            <pc:docMk/>
            <pc:sldMk cId="4265059628" sldId="2147476271"/>
            <ac:spMk id="8" creationId="{D3E3391C-8A39-0D2B-11F0-3C16A26FF096}"/>
          </ac:spMkLst>
        </pc:spChg>
        <pc:graphicFrameChg chg="mod modGraphic">
          <ac:chgData name="Iimura, Jinichi" userId="9e18df6b-b397-4f9f-a1c6-0abee7ae91a5" providerId="ADAL" clId="{74DCEA6A-055F-4DB0-8FC4-4DBE1878CD0D}" dt="2025-07-07T02:26:01.526" v="1479" actId="20577"/>
          <ac:graphicFrameMkLst>
            <pc:docMk/>
            <pc:sldMk cId="4265059628" sldId="2147476271"/>
            <ac:graphicFrameMk id="10" creationId="{C1671E97-7968-28B6-9B25-F786BB7D5496}"/>
          </ac:graphicFrameMkLst>
        </pc:graphicFrameChg>
      </pc:sldChg>
      <pc:sldChg chg="addSp delSp modSp mod">
        <pc:chgData name="Iimura, Jinichi" userId="9e18df6b-b397-4f9f-a1c6-0abee7ae91a5" providerId="ADAL" clId="{74DCEA6A-055F-4DB0-8FC4-4DBE1878CD0D}" dt="2025-07-06T16:21:43.148" v="696" actId="20577"/>
        <pc:sldMkLst>
          <pc:docMk/>
          <pc:sldMk cId="981236981" sldId="2147476274"/>
        </pc:sldMkLst>
        <pc:spChg chg="mod ord">
          <ac:chgData name="Iimura, Jinichi" userId="9e18df6b-b397-4f9f-a1c6-0abee7ae91a5" providerId="ADAL" clId="{74DCEA6A-055F-4DB0-8FC4-4DBE1878CD0D}" dt="2025-07-06T16:00:00.652" v="70"/>
          <ac:spMkLst>
            <pc:docMk/>
            <pc:sldMk cId="981236981" sldId="2147476274"/>
            <ac:spMk id="3" creationId="{251B3422-0C83-F0E0-CEB5-1398EC9D9C0C}"/>
          </ac:spMkLst>
        </pc:spChg>
        <pc:spChg chg="mod ord">
          <ac:chgData name="Iimura, Jinichi" userId="9e18df6b-b397-4f9f-a1c6-0abee7ae91a5" providerId="ADAL" clId="{74DCEA6A-055F-4DB0-8FC4-4DBE1878CD0D}" dt="2025-07-06T16:00:00.651" v="68"/>
          <ac:spMkLst>
            <pc:docMk/>
            <pc:sldMk cId="981236981" sldId="2147476274"/>
            <ac:spMk id="4" creationId="{C0CD4ED1-0F74-83B6-F4AC-8C87103B97BF}"/>
          </ac:spMkLst>
        </pc:spChg>
        <pc:spChg chg="add del">
          <ac:chgData name="Iimura, Jinichi" userId="9e18df6b-b397-4f9f-a1c6-0abee7ae91a5" providerId="ADAL" clId="{74DCEA6A-055F-4DB0-8FC4-4DBE1878CD0D}" dt="2025-07-06T15:55:08.803" v="1" actId="22"/>
          <ac:spMkLst>
            <pc:docMk/>
            <pc:sldMk cId="981236981" sldId="2147476274"/>
            <ac:spMk id="5" creationId="{A612E819-B7C7-7F7E-064E-644CC6794E41}"/>
          </ac:spMkLst>
        </pc:spChg>
        <pc:spChg chg="add mod">
          <ac:chgData name="Iimura, Jinichi" userId="9e18df6b-b397-4f9f-a1c6-0abee7ae91a5" providerId="ADAL" clId="{74DCEA6A-055F-4DB0-8FC4-4DBE1878CD0D}" dt="2025-07-06T16:21:06.704" v="554" actId="14100"/>
          <ac:spMkLst>
            <pc:docMk/>
            <pc:sldMk cId="981236981" sldId="2147476274"/>
            <ac:spMk id="9" creationId="{51CC6779-E605-6506-1802-615B087A350D}"/>
          </ac:spMkLst>
        </pc:spChg>
        <pc:spChg chg="add mod">
          <ac:chgData name="Iimura, Jinichi" userId="9e18df6b-b397-4f9f-a1c6-0abee7ae91a5" providerId="ADAL" clId="{74DCEA6A-055F-4DB0-8FC4-4DBE1878CD0D}" dt="2025-07-06T16:21:43.148" v="696" actId="20577"/>
          <ac:spMkLst>
            <pc:docMk/>
            <pc:sldMk cId="981236981" sldId="2147476274"/>
            <ac:spMk id="10" creationId="{591721DA-3B4B-EB0C-D101-67BF90C52DB5}"/>
          </ac:spMkLst>
        </pc:spChg>
        <pc:spChg chg="mod ord">
          <ac:chgData name="Iimura, Jinichi" userId="9e18df6b-b397-4f9f-a1c6-0abee7ae91a5" providerId="ADAL" clId="{74DCEA6A-055F-4DB0-8FC4-4DBE1878CD0D}" dt="2025-07-06T16:00:00.654" v="72"/>
          <ac:spMkLst>
            <pc:docMk/>
            <pc:sldMk cId="981236981" sldId="2147476274"/>
            <ac:spMk id="28" creationId="{B45C7C43-84BC-EB68-B34A-AAE39F6D8E9C}"/>
          </ac:spMkLst>
        </pc:spChg>
        <pc:spChg chg="del">
          <ac:chgData name="Iimura, Jinichi" userId="9e18df6b-b397-4f9f-a1c6-0abee7ae91a5" providerId="ADAL" clId="{74DCEA6A-055F-4DB0-8FC4-4DBE1878CD0D}" dt="2025-07-06T15:58:45.345" v="17" actId="478"/>
          <ac:spMkLst>
            <pc:docMk/>
            <pc:sldMk cId="981236981" sldId="2147476274"/>
            <ac:spMk id="83" creationId="{75A62634-CEF8-8768-F6D3-E5751EF29FC1}"/>
          </ac:spMkLst>
        </pc:spChg>
        <pc:spChg chg="del">
          <ac:chgData name="Iimura, Jinichi" userId="9e18df6b-b397-4f9f-a1c6-0abee7ae91a5" providerId="ADAL" clId="{74DCEA6A-055F-4DB0-8FC4-4DBE1878CD0D}" dt="2025-07-06T15:58:45.345" v="17" actId="478"/>
          <ac:spMkLst>
            <pc:docMk/>
            <pc:sldMk cId="981236981" sldId="2147476274"/>
            <ac:spMk id="84" creationId="{881F402C-1876-F446-7685-26DD30711013}"/>
          </ac:spMkLst>
        </pc:spChg>
        <pc:spChg chg="mod ord">
          <ac:chgData name="Iimura, Jinichi" userId="9e18df6b-b397-4f9f-a1c6-0abee7ae91a5" providerId="ADAL" clId="{74DCEA6A-055F-4DB0-8FC4-4DBE1878CD0D}" dt="2025-07-06T16:02:54.737" v="184" actId="14100"/>
          <ac:spMkLst>
            <pc:docMk/>
            <pc:sldMk cId="981236981" sldId="2147476274"/>
            <ac:spMk id="85" creationId="{1919DEAA-049E-D375-9F18-87C299672303}"/>
          </ac:spMkLst>
        </pc:spChg>
        <pc:spChg chg="mod ord">
          <ac:chgData name="Iimura, Jinichi" userId="9e18df6b-b397-4f9f-a1c6-0abee7ae91a5" providerId="ADAL" clId="{74DCEA6A-055F-4DB0-8FC4-4DBE1878CD0D}" dt="2025-07-06T16:20:02.885" v="498"/>
          <ac:spMkLst>
            <pc:docMk/>
            <pc:sldMk cId="981236981" sldId="2147476274"/>
            <ac:spMk id="86" creationId="{A734A665-A87D-F11B-F2AE-D85B2477CFA5}"/>
          </ac:spMkLst>
        </pc:spChg>
        <pc:spChg chg="del">
          <ac:chgData name="Iimura, Jinichi" userId="9e18df6b-b397-4f9f-a1c6-0abee7ae91a5" providerId="ADAL" clId="{74DCEA6A-055F-4DB0-8FC4-4DBE1878CD0D}" dt="2025-07-06T15:58:48.787" v="20" actId="478"/>
          <ac:spMkLst>
            <pc:docMk/>
            <pc:sldMk cId="981236981" sldId="2147476274"/>
            <ac:spMk id="87" creationId="{4A02E4AC-8958-FCC4-F0B2-3893ACA676B8}"/>
          </ac:spMkLst>
        </pc:spChg>
        <pc:spChg chg="del">
          <ac:chgData name="Iimura, Jinichi" userId="9e18df6b-b397-4f9f-a1c6-0abee7ae91a5" providerId="ADAL" clId="{74DCEA6A-055F-4DB0-8FC4-4DBE1878CD0D}" dt="2025-07-06T15:58:48.787" v="20" actId="478"/>
          <ac:spMkLst>
            <pc:docMk/>
            <pc:sldMk cId="981236981" sldId="2147476274"/>
            <ac:spMk id="88" creationId="{75EC14CE-9952-A8DE-0D58-569B0AC2B836}"/>
          </ac:spMkLst>
        </pc:spChg>
        <pc:spChg chg="mod ord">
          <ac:chgData name="Iimura, Jinichi" userId="9e18df6b-b397-4f9f-a1c6-0abee7ae91a5" providerId="ADAL" clId="{74DCEA6A-055F-4DB0-8FC4-4DBE1878CD0D}" dt="2025-07-06T16:00:00.656" v="78"/>
          <ac:spMkLst>
            <pc:docMk/>
            <pc:sldMk cId="981236981" sldId="2147476274"/>
            <ac:spMk id="91" creationId="{6CE6E245-6D90-A273-F2A0-D60BE5CDAECB}"/>
          </ac:spMkLst>
        </pc:spChg>
        <pc:spChg chg="mod ord">
          <ac:chgData name="Iimura, Jinichi" userId="9e18df6b-b397-4f9f-a1c6-0abee7ae91a5" providerId="ADAL" clId="{74DCEA6A-055F-4DB0-8FC4-4DBE1878CD0D}" dt="2025-07-06T16:00:00.657" v="80"/>
          <ac:spMkLst>
            <pc:docMk/>
            <pc:sldMk cId="981236981" sldId="2147476274"/>
            <ac:spMk id="104" creationId="{29033AB2-6ACC-64B2-C7C5-CD7B59A84E7A}"/>
          </ac:spMkLst>
        </pc:spChg>
        <pc:spChg chg="del">
          <ac:chgData name="Iimura, Jinichi" userId="9e18df6b-b397-4f9f-a1c6-0abee7ae91a5" providerId="ADAL" clId="{74DCEA6A-055F-4DB0-8FC4-4DBE1878CD0D}" dt="2025-07-06T15:58:45.345" v="17" actId="478"/>
          <ac:spMkLst>
            <pc:docMk/>
            <pc:sldMk cId="981236981" sldId="2147476274"/>
            <ac:spMk id="106" creationId="{68F21377-977B-8487-7180-D7C3CF3D85D2}"/>
          </ac:spMkLst>
        </pc:spChg>
        <pc:spChg chg="del">
          <ac:chgData name="Iimura, Jinichi" userId="9e18df6b-b397-4f9f-a1c6-0abee7ae91a5" providerId="ADAL" clId="{74DCEA6A-055F-4DB0-8FC4-4DBE1878CD0D}" dt="2025-07-06T15:58:45.345" v="17" actId="478"/>
          <ac:spMkLst>
            <pc:docMk/>
            <pc:sldMk cId="981236981" sldId="2147476274"/>
            <ac:spMk id="107" creationId="{E06949D5-C669-E0BE-EAC6-1984A75F7DD9}"/>
          </ac:spMkLst>
        </pc:spChg>
        <pc:graphicFrameChg chg="mod">
          <ac:chgData name="Iimura, Jinichi" userId="9e18df6b-b397-4f9f-a1c6-0abee7ae91a5" providerId="ADAL" clId="{74DCEA6A-055F-4DB0-8FC4-4DBE1878CD0D}" dt="2025-07-06T16:00:00.659" v="82"/>
          <ac:graphicFrameMkLst>
            <pc:docMk/>
            <pc:sldMk cId="981236981" sldId="2147476274"/>
            <ac:graphicFrameMk id="7" creationId="{2A84D1DA-97ED-2719-33EF-A13650BDF72A}"/>
          </ac:graphicFrameMkLst>
        </pc:graphicFrameChg>
        <pc:picChg chg="add mod ord modCrop">
          <ac:chgData name="Iimura, Jinichi" userId="9e18df6b-b397-4f9f-a1c6-0abee7ae91a5" providerId="ADAL" clId="{74DCEA6A-055F-4DB0-8FC4-4DBE1878CD0D}" dt="2025-07-06T16:20:42.641" v="525" actId="1076"/>
          <ac:picMkLst>
            <pc:docMk/>
            <pc:sldMk cId="981236981" sldId="2147476274"/>
            <ac:picMk id="6" creationId="{E9269E45-7521-5C38-131D-06135AC555F8}"/>
          </ac:picMkLst>
        </pc:picChg>
        <pc:picChg chg="add mod ord modCrop">
          <ac:chgData name="Iimura, Jinichi" userId="9e18df6b-b397-4f9f-a1c6-0abee7ae91a5" providerId="ADAL" clId="{74DCEA6A-055F-4DB0-8FC4-4DBE1878CD0D}" dt="2025-07-06T16:02:46.947" v="182" actId="14100"/>
          <ac:picMkLst>
            <pc:docMk/>
            <pc:sldMk cId="981236981" sldId="2147476274"/>
            <ac:picMk id="8" creationId="{40F2BD39-37E9-FA41-F253-94AB1AE76817}"/>
          </ac:picMkLst>
        </pc:picChg>
        <pc:picChg chg="del">
          <ac:chgData name="Iimura, Jinichi" userId="9e18df6b-b397-4f9f-a1c6-0abee7ae91a5" providerId="ADAL" clId="{74DCEA6A-055F-4DB0-8FC4-4DBE1878CD0D}" dt="2025-07-06T15:58:45.345" v="17" actId="478"/>
          <ac:picMkLst>
            <pc:docMk/>
            <pc:sldMk cId="981236981" sldId="2147476274"/>
            <ac:picMk id="78" creationId="{C2FA359B-A634-83C5-DF28-6A50F9A34078}"/>
          </ac:picMkLst>
        </pc:picChg>
        <pc:picChg chg="del">
          <ac:chgData name="Iimura, Jinichi" userId="9e18df6b-b397-4f9f-a1c6-0abee7ae91a5" providerId="ADAL" clId="{74DCEA6A-055F-4DB0-8FC4-4DBE1878CD0D}" dt="2025-07-06T15:58:46.515" v="18" actId="478"/>
          <ac:picMkLst>
            <pc:docMk/>
            <pc:sldMk cId="981236981" sldId="2147476274"/>
            <ac:picMk id="79" creationId="{AD143393-A810-C124-3C73-A4C79190493B}"/>
          </ac:picMkLst>
        </pc:picChg>
        <pc:picChg chg="del">
          <ac:chgData name="Iimura, Jinichi" userId="9e18df6b-b397-4f9f-a1c6-0abee7ae91a5" providerId="ADAL" clId="{74DCEA6A-055F-4DB0-8FC4-4DBE1878CD0D}" dt="2025-07-06T15:58:47.099" v="19" actId="478"/>
          <ac:picMkLst>
            <pc:docMk/>
            <pc:sldMk cId="981236981" sldId="2147476274"/>
            <ac:picMk id="82" creationId="{1295256A-7454-BCA8-6479-8ADD4BF6E944}"/>
          </ac:picMkLst>
        </pc:picChg>
        <pc:picChg chg="del">
          <ac:chgData name="Iimura, Jinichi" userId="9e18df6b-b397-4f9f-a1c6-0abee7ae91a5" providerId="ADAL" clId="{74DCEA6A-055F-4DB0-8FC4-4DBE1878CD0D}" dt="2025-07-06T15:58:45.345" v="17" actId="478"/>
          <ac:picMkLst>
            <pc:docMk/>
            <pc:sldMk cId="981236981" sldId="2147476274"/>
            <ac:picMk id="105" creationId="{5743A812-D98F-979B-3EAB-5E5CE5AA588B}"/>
          </ac:picMkLst>
        </pc:picChg>
      </pc:sldChg>
      <pc:sldChg chg="modSp mod">
        <pc:chgData name="Iimura, Jinichi" userId="9e18df6b-b397-4f9f-a1c6-0abee7ae91a5" providerId="ADAL" clId="{74DCEA6A-055F-4DB0-8FC4-4DBE1878CD0D}" dt="2025-07-07T03:02:17.444" v="1617" actId="404"/>
        <pc:sldMkLst>
          <pc:docMk/>
          <pc:sldMk cId="1652214018" sldId="2147476275"/>
        </pc:sldMkLst>
        <pc:spChg chg="mod">
          <ac:chgData name="Iimura, Jinichi" userId="9e18df6b-b397-4f9f-a1c6-0abee7ae91a5" providerId="ADAL" clId="{74DCEA6A-055F-4DB0-8FC4-4DBE1878CD0D}" dt="2025-07-07T03:02:17.444" v="1617" actId="404"/>
          <ac:spMkLst>
            <pc:docMk/>
            <pc:sldMk cId="1652214018" sldId="2147476275"/>
            <ac:spMk id="6" creationId="{E3CEBE24-4411-7EC1-2AED-B58B586D888A}"/>
          </ac:spMkLst>
        </pc:spChg>
      </pc:sldChg>
      <pc:sldChg chg="modSp mod">
        <pc:chgData name="Iimura, Jinichi" userId="9e18df6b-b397-4f9f-a1c6-0abee7ae91a5" providerId="ADAL" clId="{74DCEA6A-055F-4DB0-8FC4-4DBE1878CD0D}" dt="2025-07-07T03:02:06.603" v="1614" actId="404"/>
        <pc:sldMkLst>
          <pc:docMk/>
          <pc:sldMk cId="148434690" sldId="2147476277"/>
        </pc:sldMkLst>
        <pc:spChg chg="mod">
          <ac:chgData name="Iimura, Jinichi" userId="9e18df6b-b397-4f9f-a1c6-0abee7ae91a5" providerId="ADAL" clId="{74DCEA6A-055F-4DB0-8FC4-4DBE1878CD0D}" dt="2025-07-07T03:02:06.603" v="1614" actId="404"/>
          <ac:spMkLst>
            <pc:docMk/>
            <pc:sldMk cId="148434690" sldId="2147476277"/>
            <ac:spMk id="5" creationId="{CA9AD951-AB0A-F544-7224-4DC94CDD3179}"/>
          </ac:spMkLst>
        </pc:spChg>
      </pc:sldChg>
      <pc:sldChg chg="modSp mod">
        <pc:chgData name="Iimura, Jinichi" userId="9e18df6b-b397-4f9f-a1c6-0abee7ae91a5" providerId="ADAL" clId="{74DCEA6A-055F-4DB0-8FC4-4DBE1878CD0D}" dt="2025-07-07T03:01:58.760" v="1612" actId="404"/>
        <pc:sldMkLst>
          <pc:docMk/>
          <pc:sldMk cId="3596020275" sldId="2147476279"/>
        </pc:sldMkLst>
        <pc:spChg chg="mod">
          <ac:chgData name="Iimura, Jinichi" userId="9e18df6b-b397-4f9f-a1c6-0abee7ae91a5" providerId="ADAL" clId="{74DCEA6A-055F-4DB0-8FC4-4DBE1878CD0D}" dt="2025-07-07T03:01:58.760" v="1612" actId="404"/>
          <ac:spMkLst>
            <pc:docMk/>
            <pc:sldMk cId="3596020275" sldId="2147476279"/>
            <ac:spMk id="2" creationId="{3E459797-BB47-C5A3-ED03-A65240AC92A2}"/>
          </ac:spMkLst>
        </pc:spChg>
      </pc:sldChg>
      <pc:sldChg chg="modSp mod">
        <pc:chgData name="Iimura, Jinichi" userId="9e18df6b-b397-4f9f-a1c6-0abee7ae91a5" providerId="ADAL" clId="{74DCEA6A-055F-4DB0-8FC4-4DBE1878CD0D}" dt="2025-07-07T03:14:20.326" v="1699" actId="20577"/>
        <pc:sldMkLst>
          <pc:docMk/>
          <pc:sldMk cId="4008037957" sldId="2147476284"/>
        </pc:sldMkLst>
        <pc:spChg chg="mod">
          <ac:chgData name="Iimura, Jinichi" userId="9e18df6b-b397-4f9f-a1c6-0abee7ae91a5" providerId="ADAL" clId="{74DCEA6A-055F-4DB0-8FC4-4DBE1878CD0D}" dt="2025-07-07T03:14:20.326" v="1699" actId="20577"/>
          <ac:spMkLst>
            <pc:docMk/>
            <pc:sldMk cId="4008037957" sldId="2147476284"/>
            <ac:spMk id="30" creationId="{3448C59E-558C-342D-EA1A-7AE67789B08F}"/>
          </ac:spMkLst>
        </pc:spChg>
      </pc:sldChg>
      <pc:sldChg chg="modSp mod ord">
        <pc:chgData name="Iimura, Jinichi" userId="9e18df6b-b397-4f9f-a1c6-0abee7ae91a5" providerId="ADAL" clId="{74DCEA6A-055F-4DB0-8FC4-4DBE1878CD0D}" dt="2025-07-07T00:42:09.228" v="1214" actId="20577"/>
        <pc:sldMkLst>
          <pc:docMk/>
          <pc:sldMk cId="2737910143" sldId="2147476297"/>
        </pc:sldMkLst>
        <pc:spChg chg="mod">
          <ac:chgData name="Iimura, Jinichi" userId="9e18df6b-b397-4f9f-a1c6-0abee7ae91a5" providerId="ADAL" clId="{74DCEA6A-055F-4DB0-8FC4-4DBE1878CD0D}" dt="2025-07-06T23:46:32.925" v="1119" actId="6549"/>
          <ac:spMkLst>
            <pc:docMk/>
            <pc:sldMk cId="2737910143" sldId="2147476297"/>
            <ac:spMk id="10" creationId="{94307921-BF3C-2D2B-4FBB-516451744E86}"/>
          </ac:spMkLst>
        </pc:spChg>
        <pc:spChg chg="mod">
          <ac:chgData name="Iimura, Jinichi" userId="9e18df6b-b397-4f9f-a1c6-0abee7ae91a5" providerId="ADAL" clId="{74DCEA6A-055F-4DB0-8FC4-4DBE1878CD0D}" dt="2025-07-06T23:46:30.071" v="1118" actId="6549"/>
          <ac:spMkLst>
            <pc:docMk/>
            <pc:sldMk cId="2737910143" sldId="2147476297"/>
            <ac:spMk id="14" creationId="{F000ED2C-4B6D-2C0C-F4F7-D1256B4BBDCE}"/>
          </ac:spMkLst>
        </pc:spChg>
        <pc:spChg chg="mod">
          <ac:chgData name="Iimura, Jinichi" userId="9e18df6b-b397-4f9f-a1c6-0abee7ae91a5" providerId="ADAL" clId="{74DCEA6A-055F-4DB0-8FC4-4DBE1878CD0D}" dt="2025-07-06T23:46:35.753" v="1120" actId="6549"/>
          <ac:spMkLst>
            <pc:docMk/>
            <pc:sldMk cId="2737910143" sldId="2147476297"/>
            <ac:spMk id="30" creationId="{3448C59E-558C-342D-EA1A-7AE67789B08F}"/>
          </ac:spMkLst>
        </pc:spChg>
        <pc:spChg chg="mod">
          <ac:chgData name="Iimura, Jinichi" userId="9e18df6b-b397-4f9f-a1c6-0abee7ae91a5" providerId="ADAL" clId="{74DCEA6A-055F-4DB0-8FC4-4DBE1878CD0D}" dt="2025-07-07T00:42:09.228" v="1214" actId="20577"/>
          <ac:spMkLst>
            <pc:docMk/>
            <pc:sldMk cId="2737910143" sldId="2147476297"/>
            <ac:spMk id="91" creationId="{6CE6E245-6D90-A273-F2A0-D60BE5CDAECB}"/>
          </ac:spMkLst>
        </pc:spChg>
      </pc:sldChg>
      <pc:sldChg chg="modSp mod ord">
        <pc:chgData name="Iimura, Jinichi" userId="9e18df6b-b397-4f9f-a1c6-0abee7ae91a5" providerId="ADAL" clId="{74DCEA6A-055F-4DB0-8FC4-4DBE1878CD0D}" dt="2025-07-07T02:30:38.095" v="1525" actId="20577"/>
        <pc:sldMkLst>
          <pc:docMk/>
          <pc:sldMk cId="196848279" sldId="2147476298"/>
        </pc:sldMkLst>
        <pc:spChg chg="mod">
          <ac:chgData name="Iimura, Jinichi" userId="9e18df6b-b397-4f9f-a1c6-0abee7ae91a5" providerId="ADAL" clId="{74DCEA6A-055F-4DB0-8FC4-4DBE1878CD0D}" dt="2025-07-07T02:30:38.095" v="1525" actId="20577"/>
          <ac:spMkLst>
            <pc:docMk/>
            <pc:sldMk cId="196848279" sldId="2147476298"/>
            <ac:spMk id="30" creationId="{3448C59E-558C-342D-EA1A-7AE67789B08F}"/>
          </ac:spMkLst>
        </pc:spChg>
        <pc:spChg chg="mod">
          <ac:chgData name="Iimura, Jinichi" userId="9e18df6b-b397-4f9f-a1c6-0abee7ae91a5" providerId="ADAL" clId="{74DCEA6A-055F-4DB0-8FC4-4DBE1878CD0D}" dt="2025-07-07T00:42:18.955" v="1216"/>
          <ac:spMkLst>
            <pc:docMk/>
            <pc:sldMk cId="196848279" sldId="2147476298"/>
            <ac:spMk id="91" creationId="{6CE6E245-6D90-A273-F2A0-D60BE5CDAECB}"/>
          </ac:spMkLst>
        </pc:spChg>
      </pc:sldChg>
      <pc:sldChg chg="modSp mod ord">
        <pc:chgData name="Iimura, Jinichi" userId="9e18df6b-b397-4f9f-a1c6-0abee7ae91a5" providerId="ADAL" clId="{74DCEA6A-055F-4DB0-8FC4-4DBE1878CD0D}" dt="2025-07-07T02:30:47.293" v="1561" actId="20577"/>
        <pc:sldMkLst>
          <pc:docMk/>
          <pc:sldMk cId="3767265030" sldId="2147476299"/>
        </pc:sldMkLst>
        <pc:spChg chg="mod">
          <ac:chgData name="Iimura, Jinichi" userId="9e18df6b-b397-4f9f-a1c6-0abee7ae91a5" providerId="ADAL" clId="{74DCEA6A-055F-4DB0-8FC4-4DBE1878CD0D}" dt="2025-07-07T02:30:47.293" v="1561" actId="20577"/>
          <ac:spMkLst>
            <pc:docMk/>
            <pc:sldMk cId="3767265030" sldId="2147476299"/>
            <ac:spMk id="30" creationId="{3448C59E-558C-342D-EA1A-7AE67789B08F}"/>
          </ac:spMkLst>
        </pc:spChg>
        <pc:spChg chg="mod">
          <ac:chgData name="Iimura, Jinichi" userId="9e18df6b-b397-4f9f-a1c6-0abee7ae91a5" providerId="ADAL" clId="{74DCEA6A-055F-4DB0-8FC4-4DBE1878CD0D}" dt="2025-07-07T00:42:21.382" v="1217"/>
          <ac:spMkLst>
            <pc:docMk/>
            <pc:sldMk cId="3767265030" sldId="2147476299"/>
            <ac:spMk id="91" creationId="{6CE6E245-6D90-A273-F2A0-D60BE5CDAECB}"/>
          </ac:spMkLst>
        </pc:spChg>
      </pc:sldChg>
      <pc:sldChg chg="modSp mod ord">
        <pc:chgData name="Iimura, Jinichi" userId="9e18df6b-b397-4f9f-a1c6-0abee7ae91a5" providerId="ADAL" clId="{74DCEA6A-055F-4DB0-8FC4-4DBE1878CD0D}" dt="2025-07-07T02:31:10.136" v="1600" actId="20577"/>
        <pc:sldMkLst>
          <pc:docMk/>
          <pc:sldMk cId="1698583822" sldId="2147476300"/>
        </pc:sldMkLst>
        <pc:spChg chg="mod">
          <ac:chgData name="Iimura, Jinichi" userId="9e18df6b-b397-4f9f-a1c6-0abee7ae91a5" providerId="ADAL" clId="{74DCEA6A-055F-4DB0-8FC4-4DBE1878CD0D}" dt="2025-07-07T02:31:10.136" v="1600" actId="20577"/>
          <ac:spMkLst>
            <pc:docMk/>
            <pc:sldMk cId="1698583822" sldId="2147476300"/>
            <ac:spMk id="8" creationId="{2E712169-3A23-51EC-7DEB-37FB03D6B67B}"/>
          </ac:spMkLst>
        </pc:spChg>
        <pc:spChg chg="mod">
          <ac:chgData name="Iimura, Jinichi" userId="9e18df6b-b397-4f9f-a1c6-0abee7ae91a5" providerId="ADAL" clId="{74DCEA6A-055F-4DB0-8FC4-4DBE1878CD0D}" dt="2025-07-07T02:31:01.649" v="1579" actId="20577"/>
          <ac:spMkLst>
            <pc:docMk/>
            <pc:sldMk cId="1698583822" sldId="2147476300"/>
            <ac:spMk id="30" creationId="{3448C59E-558C-342D-EA1A-7AE67789B08F}"/>
          </ac:spMkLst>
        </pc:spChg>
        <pc:spChg chg="mod">
          <ac:chgData name="Iimura, Jinichi" userId="9e18df6b-b397-4f9f-a1c6-0abee7ae91a5" providerId="ADAL" clId="{74DCEA6A-055F-4DB0-8FC4-4DBE1878CD0D}" dt="2025-07-07T00:42:24.017" v="1218"/>
          <ac:spMkLst>
            <pc:docMk/>
            <pc:sldMk cId="1698583822" sldId="2147476300"/>
            <ac:spMk id="91" creationId="{6CE6E245-6D90-A273-F2A0-D60BE5CDAECB}"/>
          </ac:spMkLst>
        </pc:spChg>
      </pc:sldChg>
      <pc:sldChg chg="modSp mod ord">
        <pc:chgData name="Iimura, Jinichi" userId="9e18df6b-b397-4f9f-a1c6-0abee7ae91a5" providerId="ADAL" clId="{74DCEA6A-055F-4DB0-8FC4-4DBE1878CD0D}" dt="2025-07-07T02:30:28.829" v="1506" actId="20577"/>
        <pc:sldMkLst>
          <pc:docMk/>
          <pc:sldMk cId="2955133890" sldId="2147476301"/>
        </pc:sldMkLst>
        <pc:spChg chg="mod">
          <ac:chgData name="Iimura, Jinichi" userId="9e18df6b-b397-4f9f-a1c6-0abee7ae91a5" providerId="ADAL" clId="{74DCEA6A-055F-4DB0-8FC4-4DBE1878CD0D}" dt="2025-07-07T02:30:28.829" v="1506" actId="20577"/>
          <ac:spMkLst>
            <pc:docMk/>
            <pc:sldMk cId="2955133890" sldId="2147476301"/>
            <ac:spMk id="30" creationId="{3448C59E-558C-342D-EA1A-7AE67789B08F}"/>
          </ac:spMkLst>
        </pc:spChg>
        <pc:spChg chg="mod">
          <ac:chgData name="Iimura, Jinichi" userId="9e18df6b-b397-4f9f-a1c6-0abee7ae91a5" providerId="ADAL" clId="{74DCEA6A-055F-4DB0-8FC4-4DBE1878CD0D}" dt="2025-07-07T00:42:15.393" v="1215"/>
          <ac:spMkLst>
            <pc:docMk/>
            <pc:sldMk cId="2955133890" sldId="2147476301"/>
            <ac:spMk id="91" creationId="{6CE6E245-6D90-A273-F2A0-D60BE5CDAECB}"/>
          </ac:spMkLst>
        </pc:spChg>
      </pc:sldChg>
      <pc:sldChg chg="modSp mod ord">
        <pc:chgData name="Iimura, Jinichi" userId="9e18df6b-b397-4f9f-a1c6-0abee7ae91a5" providerId="ADAL" clId="{74DCEA6A-055F-4DB0-8FC4-4DBE1878CD0D}" dt="2025-07-07T00:42:34.449" v="1220"/>
        <pc:sldMkLst>
          <pc:docMk/>
          <pc:sldMk cId="876069289" sldId="2147476302"/>
        </pc:sldMkLst>
        <pc:spChg chg="mod">
          <ac:chgData name="Iimura, Jinichi" userId="9e18df6b-b397-4f9f-a1c6-0abee7ae91a5" providerId="ADAL" clId="{74DCEA6A-055F-4DB0-8FC4-4DBE1878CD0D}" dt="2025-07-07T00:35:49.221" v="1181" actId="20577"/>
          <ac:spMkLst>
            <pc:docMk/>
            <pc:sldMk cId="876069289" sldId="2147476302"/>
            <ac:spMk id="30" creationId="{3448C59E-558C-342D-EA1A-7AE67789B08F}"/>
          </ac:spMkLst>
        </pc:spChg>
      </pc:sldChg>
      <pc:sldChg chg="modSp mod">
        <pc:chgData name="Iimura, Jinichi" userId="9e18df6b-b397-4f9f-a1c6-0abee7ae91a5" providerId="ADAL" clId="{74DCEA6A-055F-4DB0-8FC4-4DBE1878CD0D}" dt="2025-07-07T03:13:56.729" v="1630" actId="20577"/>
        <pc:sldMkLst>
          <pc:docMk/>
          <pc:sldMk cId="3798191958" sldId="2147476306"/>
        </pc:sldMkLst>
        <pc:spChg chg="mod">
          <ac:chgData name="Iimura, Jinichi" userId="9e18df6b-b397-4f9f-a1c6-0abee7ae91a5" providerId="ADAL" clId="{74DCEA6A-055F-4DB0-8FC4-4DBE1878CD0D}" dt="2025-07-07T03:13:56.729" v="1630" actId="20577"/>
          <ac:spMkLst>
            <pc:docMk/>
            <pc:sldMk cId="3798191958" sldId="2147476306"/>
            <ac:spMk id="30" creationId="{3448C59E-558C-342D-EA1A-7AE67789B08F}"/>
          </ac:spMkLst>
        </pc:spChg>
        <pc:spChg chg="mod">
          <ac:chgData name="Iimura, Jinichi" userId="9e18df6b-b397-4f9f-a1c6-0abee7ae91a5" providerId="ADAL" clId="{74DCEA6A-055F-4DB0-8FC4-4DBE1878CD0D}" dt="2025-07-06T16:18:25.568" v="320" actId="20577"/>
          <ac:spMkLst>
            <pc:docMk/>
            <pc:sldMk cId="3798191958" sldId="2147476306"/>
            <ac:spMk id="91" creationId="{6CE6E245-6D90-A273-F2A0-D60BE5CDAECB}"/>
          </ac:spMkLst>
        </pc:spChg>
      </pc:sldChg>
      <pc:sldChg chg="modSp mod">
        <pc:chgData name="Iimura, Jinichi" userId="9e18df6b-b397-4f9f-a1c6-0abee7ae91a5" providerId="ADAL" clId="{74DCEA6A-055F-4DB0-8FC4-4DBE1878CD0D}" dt="2025-07-07T03:02:10.116" v="1615" actId="404"/>
        <pc:sldMkLst>
          <pc:docMk/>
          <pc:sldMk cId="1109742819" sldId="2147476308"/>
        </pc:sldMkLst>
        <pc:spChg chg="mod">
          <ac:chgData name="Iimura, Jinichi" userId="9e18df6b-b397-4f9f-a1c6-0abee7ae91a5" providerId="ADAL" clId="{74DCEA6A-055F-4DB0-8FC4-4DBE1878CD0D}" dt="2025-07-07T03:02:10.116" v="1615" actId="404"/>
          <ac:spMkLst>
            <pc:docMk/>
            <pc:sldMk cId="1109742819" sldId="2147476308"/>
            <ac:spMk id="5" creationId="{CA9AD951-AB0A-F544-7224-4DC94CDD3179}"/>
          </ac:spMkLst>
        </pc:spChg>
      </pc:sldChg>
      <pc:sldChg chg="add">
        <pc:chgData name="Iimura, Jinichi" userId="9e18df6b-b397-4f9f-a1c6-0abee7ae91a5" providerId="ADAL" clId="{74DCEA6A-055F-4DB0-8FC4-4DBE1878CD0D}" dt="2025-07-06T15:55:10.346" v="2"/>
        <pc:sldMkLst>
          <pc:docMk/>
          <pc:sldMk cId="3037268822" sldId="2147476311"/>
        </pc:sldMkLst>
      </pc:sldChg>
      <pc:sldChg chg="add del">
        <pc:chgData name="Iimura, Jinichi" userId="9e18df6b-b397-4f9f-a1c6-0abee7ae91a5" providerId="ADAL" clId="{74DCEA6A-055F-4DB0-8FC4-4DBE1878CD0D}" dt="2025-07-06T15:58:52.851" v="22"/>
        <pc:sldMkLst>
          <pc:docMk/>
          <pc:sldMk cId="3327936364" sldId="2147476312"/>
        </pc:sldMkLst>
      </pc:sldChg>
    </pc:docChg>
  </pc:docChgLst>
  <pc:docChgLst>
    <pc:chgData name="Iimura, Jinichi" userId="9e18df6b-b397-4f9f-a1c6-0abee7ae91a5" providerId="ADAL" clId="{F374B321-402B-480D-900C-34E43EBD605E}"/>
    <pc:docChg chg="undo custSel modSld">
      <pc:chgData name="Iimura, Jinichi" userId="9e18df6b-b397-4f9f-a1c6-0abee7ae91a5" providerId="ADAL" clId="{F374B321-402B-480D-900C-34E43EBD605E}" dt="2025-06-09T01:40:31.432" v="65" actId="20577"/>
      <pc:docMkLst>
        <pc:docMk/>
      </pc:docMkLst>
      <pc:sldChg chg="addSp delSp modSp mod">
        <pc:chgData name="Iimura, Jinichi" userId="9e18df6b-b397-4f9f-a1c6-0abee7ae91a5" providerId="ADAL" clId="{F374B321-402B-480D-900C-34E43EBD605E}" dt="2025-06-09T01:40:31.432" v="65" actId="20577"/>
        <pc:sldMkLst>
          <pc:docMk/>
          <pc:sldMk cId="1910156974" sldId="2147476244"/>
        </pc:sldMkLst>
        <pc:spChg chg="add mod">
          <ac:chgData name="Iimura, Jinichi" userId="9e18df6b-b397-4f9f-a1c6-0abee7ae91a5" providerId="ADAL" clId="{F374B321-402B-480D-900C-34E43EBD605E}" dt="2025-06-08T23:16:54.026" v="51" actId="571"/>
          <ac:spMkLst>
            <pc:docMk/>
            <pc:sldMk cId="1910156974" sldId="2147476244"/>
            <ac:spMk id="14" creationId="{C3D3FAD5-B3FF-5DDD-37E5-625F2E348C85}"/>
          </ac:spMkLst>
        </pc:spChg>
        <pc:spChg chg="mod">
          <ac:chgData name="Iimura, Jinichi" userId="9e18df6b-b397-4f9f-a1c6-0abee7ae91a5" providerId="ADAL" clId="{F374B321-402B-480D-900C-34E43EBD605E}" dt="2025-06-09T01:40:28.287" v="57" actId="6549"/>
          <ac:spMkLst>
            <pc:docMk/>
            <pc:sldMk cId="1910156974" sldId="2147476244"/>
            <ac:spMk id="18" creationId="{B59F8DCC-9E26-9231-243D-87FB5DC0A76E}"/>
          </ac:spMkLst>
        </pc:spChg>
        <pc:spChg chg="add del mod">
          <ac:chgData name="Iimura, Jinichi" userId="9e18df6b-b397-4f9f-a1c6-0abee7ae91a5" providerId="ADAL" clId="{F374B321-402B-480D-900C-34E43EBD605E}" dt="2025-06-09T01:40:25.216" v="56" actId="478"/>
          <ac:spMkLst>
            <pc:docMk/>
            <pc:sldMk cId="1910156974" sldId="2147476244"/>
            <ac:spMk id="19" creationId="{60B955D1-10B2-B8E4-676F-AD4851400C3D}"/>
          </ac:spMkLst>
        </pc:spChg>
        <pc:spChg chg="add del mod">
          <ac:chgData name="Iimura, Jinichi" userId="9e18df6b-b397-4f9f-a1c6-0abee7ae91a5" providerId="ADAL" clId="{F374B321-402B-480D-900C-34E43EBD605E}" dt="2025-06-09T01:40:25.216" v="56" actId="478"/>
          <ac:spMkLst>
            <pc:docMk/>
            <pc:sldMk cId="1910156974" sldId="2147476244"/>
            <ac:spMk id="20" creationId="{53D36745-8420-E617-0180-9501D32047FE}"/>
          </ac:spMkLst>
        </pc:spChg>
        <pc:spChg chg="add del mod">
          <ac:chgData name="Iimura, Jinichi" userId="9e18df6b-b397-4f9f-a1c6-0abee7ae91a5" providerId="ADAL" clId="{F374B321-402B-480D-900C-34E43EBD605E}" dt="2025-06-09T01:40:25.216" v="56" actId="478"/>
          <ac:spMkLst>
            <pc:docMk/>
            <pc:sldMk cId="1910156974" sldId="2147476244"/>
            <ac:spMk id="21" creationId="{AD7A89F6-1F10-B15F-128F-2E36F8BE12F4}"/>
          </ac:spMkLst>
        </pc:spChg>
        <pc:spChg chg="mod">
          <ac:chgData name="Iimura, Jinichi" userId="9e18df6b-b397-4f9f-a1c6-0abee7ae91a5" providerId="ADAL" clId="{F374B321-402B-480D-900C-34E43EBD605E}" dt="2025-06-08T23:16:54.986" v="53" actId="1076"/>
          <ac:spMkLst>
            <pc:docMk/>
            <pc:sldMk cId="1910156974" sldId="2147476244"/>
            <ac:spMk id="24" creationId="{AA879E95-4195-1A8F-94EF-B2DC35C2B8AB}"/>
          </ac:spMkLst>
        </pc:spChg>
        <pc:spChg chg="mod">
          <ac:chgData name="Iimura, Jinichi" userId="9e18df6b-b397-4f9f-a1c6-0abee7ae91a5" providerId="ADAL" clId="{F374B321-402B-480D-900C-34E43EBD605E}" dt="2025-06-08T23:16:54.986" v="53" actId="1076"/>
          <ac:spMkLst>
            <pc:docMk/>
            <pc:sldMk cId="1910156974" sldId="2147476244"/>
            <ac:spMk id="33" creationId="{8B5E4D0C-CF30-3CF3-6DEC-B6B419530B84}"/>
          </ac:spMkLst>
        </pc:spChg>
        <pc:spChg chg="mod">
          <ac:chgData name="Iimura, Jinichi" userId="9e18df6b-b397-4f9f-a1c6-0abee7ae91a5" providerId="ADAL" clId="{F374B321-402B-480D-900C-34E43EBD605E}" dt="2025-06-08T23:16:54.986" v="53" actId="1076"/>
          <ac:spMkLst>
            <pc:docMk/>
            <pc:sldMk cId="1910156974" sldId="2147476244"/>
            <ac:spMk id="39" creationId="{44D027FF-4FA2-8DC2-ADA6-01A163319C44}"/>
          </ac:spMkLst>
        </pc:spChg>
        <pc:spChg chg="mod">
          <ac:chgData name="Iimura, Jinichi" userId="9e18df6b-b397-4f9f-a1c6-0abee7ae91a5" providerId="ADAL" clId="{F374B321-402B-480D-900C-34E43EBD605E}" dt="2025-06-09T01:40:31.432" v="65" actId="20577"/>
          <ac:spMkLst>
            <pc:docMk/>
            <pc:sldMk cId="1910156974" sldId="2147476244"/>
            <ac:spMk id="80" creationId="{451C5914-CD2F-8A4E-297D-DD85F7986712}"/>
          </ac:spMkLst>
        </pc:spChg>
        <pc:graphicFrameChg chg="mod">
          <ac:chgData name="Iimura, Jinichi" userId="9e18df6b-b397-4f9f-a1c6-0abee7ae91a5" providerId="ADAL" clId="{F374B321-402B-480D-900C-34E43EBD605E}" dt="2025-06-08T23:14:42.750" v="9" actId="1076"/>
          <ac:graphicFrameMkLst>
            <pc:docMk/>
            <pc:sldMk cId="1910156974" sldId="2147476244"/>
            <ac:graphicFrameMk id="6" creationId="{CA8E2A68-9716-173E-515E-C9C3A14F91D1}"/>
          </ac:graphicFrameMkLst>
        </pc:graphicFrameChg>
        <pc:cxnChg chg="mod">
          <ac:chgData name="Iimura, Jinichi" userId="9e18df6b-b397-4f9f-a1c6-0abee7ae91a5" providerId="ADAL" clId="{F374B321-402B-480D-900C-34E43EBD605E}" dt="2025-06-08T23:16:54.490" v="52" actId="1076"/>
          <ac:cxnSpMkLst>
            <pc:docMk/>
            <pc:sldMk cId="1910156974" sldId="2147476244"/>
            <ac:cxnSpMk id="3" creationId="{DA2742F8-E8F1-35AD-5317-2E2028F7E099}"/>
          </ac:cxnSpMkLst>
        </pc:cxnChg>
        <pc:cxnChg chg="add mod">
          <ac:chgData name="Iimura, Jinichi" userId="9e18df6b-b397-4f9f-a1c6-0abee7ae91a5" providerId="ADAL" clId="{F374B321-402B-480D-900C-34E43EBD605E}" dt="2025-06-08T23:16:53.144" v="49" actId="571"/>
          <ac:cxnSpMkLst>
            <pc:docMk/>
            <pc:sldMk cId="1910156974" sldId="2147476244"/>
            <ac:cxnSpMk id="17" creationId="{BDD26D26-6C8F-CE7A-B84B-8EDDE8979854}"/>
          </ac:cxnSpMkLst>
        </pc:cxnChg>
        <pc:cxnChg chg="mod">
          <ac:chgData name="Iimura, Jinichi" userId="9e18df6b-b397-4f9f-a1c6-0abee7ae91a5" providerId="ADAL" clId="{F374B321-402B-480D-900C-34E43EBD605E}" dt="2025-06-08T23:16:54.986" v="53" actId="1076"/>
          <ac:cxnSpMkLst>
            <pc:docMk/>
            <pc:sldMk cId="1910156974" sldId="2147476244"/>
            <ac:cxnSpMk id="27" creationId="{3E8296AA-1D15-4524-D37C-BC8929D18976}"/>
          </ac:cxnSpMkLst>
        </pc:cxnChg>
        <pc:cxnChg chg="mod">
          <ac:chgData name="Iimura, Jinichi" userId="9e18df6b-b397-4f9f-a1c6-0abee7ae91a5" providerId="ADAL" clId="{F374B321-402B-480D-900C-34E43EBD605E}" dt="2025-06-08T23:16:54.986" v="53" actId="1076"/>
          <ac:cxnSpMkLst>
            <pc:docMk/>
            <pc:sldMk cId="1910156974" sldId="2147476244"/>
            <ac:cxnSpMk id="36" creationId="{99E322F5-092B-B639-1D4D-D2A2127078F7}"/>
          </ac:cxnSpMkLst>
        </pc:cxnChg>
      </pc:sldChg>
    </pc:docChg>
  </pc:docChgLst>
  <pc:docChgLst>
    <pc:chgData name="Iimura, Jinichi" userId="9e18df6b-b397-4f9f-a1c6-0abee7ae91a5" providerId="ADAL" clId="{8659CC36-693C-479B-B738-87E8E3013C2B}"/>
    <pc:docChg chg="undo redo custSel addSld delSld modSld sldOrd addSection delSection modSection">
      <pc:chgData name="Iimura, Jinichi" userId="9e18df6b-b397-4f9f-a1c6-0abee7ae91a5" providerId="ADAL" clId="{8659CC36-693C-479B-B738-87E8E3013C2B}" dt="2025-07-03T04:50:47.450" v="14744" actId="6549"/>
      <pc:docMkLst>
        <pc:docMk/>
      </pc:docMkLst>
      <pc:sldChg chg="modSp mod">
        <pc:chgData name="Iimura, Jinichi" userId="9e18df6b-b397-4f9f-a1c6-0abee7ae91a5" providerId="ADAL" clId="{8659CC36-693C-479B-B738-87E8E3013C2B}" dt="2025-07-02T23:59:04.952" v="14158" actId="207"/>
        <pc:sldMkLst>
          <pc:docMk/>
          <pc:sldMk cId="3665934945" sldId="256"/>
        </pc:sldMkLst>
        <pc:spChg chg="mod">
          <ac:chgData name="Iimura, Jinichi" userId="9e18df6b-b397-4f9f-a1c6-0abee7ae91a5" providerId="ADAL" clId="{8659CC36-693C-479B-B738-87E8E3013C2B}" dt="2025-07-02T23:59:04.952" v="14158" actId="207"/>
          <ac:spMkLst>
            <pc:docMk/>
            <pc:sldMk cId="3665934945" sldId="256"/>
            <ac:spMk id="7" creationId="{E463306C-318F-AFE8-C603-FA1CF0EF24F0}"/>
          </ac:spMkLst>
        </pc:spChg>
        <pc:spChg chg="mod">
          <ac:chgData name="Iimura, Jinichi" userId="9e18df6b-b397-4f9f-a1c6-0abee7ae91a5" providerId="ADAL" clId="{8659CC36-693C-479B-B738-87E8E3013C2B}" dt="2025-07-02T23:59:00.444" v="14157" actId="207"/>
          <ac:spMkLst>
            <pc:docMk/>
            <pc:sldMk cId="3665934945" sldId="256"/>
            <ac:spMk id="13" creationId="{754FBCAA-A114-8A96-47B3-9AB10E92A7C3}"/>
          </ac:spMkLst>
        </pc:spChg>
      </pc:sldChg>
      <pc:sldChg chg="addSp modSp del mod ord">
        <pc:chgData name="Iimura, Jinichi" userId="9e18df6b-b397-4f9f-a1c6-0abee7ae91a5" providerId="ADAL" clId="{8659CC36-693C-479B-B738-87E8E3013C2B}" dt="2025-07-02T07:25:32.744" v="11993" actId="47"/>
        <pc:sldMkLst>
          <pc:docMk/>
          <pc:sldMk cId="823850065" sldId="2147476199"/>
        </pc:sldMkLst>
        <pc:spChg chg="mod">
          <ac:chgData name="Iimura, Jinichi" userId="9e18df6b-b397-4f9f-a1c6-0abee7ae91a5" providerId="ADAL" clId="{8659CC36-693C-479B-B738-87E8E3013C2B}" dt="2025-06-30T08:44:14.149" v="5906" actId="20577"/>
          <ac:spMkLst>
            <pc:docMk/>
            <pc:sldMk cId="823850065" sldId="2147476199"/>
            <ac:spMk id="5" creationId="{42DFA4FD-49DC-4731-ADFC-2219F4A8B4A7}"/>
          </ac:spMkLst>
        </pc:spChg>
        <pc:spChg chg="mod">
          <ac:chgData name="Iimura, Jinichi" userId="9e18df6b-b397-4f9f-a1c6-0abee7ae91a5" providerId="ADAL" clId="{8659CC36-693C-479B-B738-87E8E3013C2B}" dt="2025-06-30T08:24:56.560" v="5118" actId="1076"/>
          <ac:spMkLst>
            <pc:docMk/>
            <pc:sldMk cId="823850065" sldId="2147476199"/>
            <ac:spMk id="9" creationId="{1937F843-39D3-831C-3F43-0081EDF4F142}"/>
          </ac:spMkLst>
        </pc:spChg>
        <pc:graphicFrameChg chg="add">
          <ac:chgData name="Iimura, Jinichi" userId="9e18df6b-b397-4f9f-a1c6-0abee7ae91a5" providerId="ADAL" clId="{8659CC36-693C-479B-B738-87E8E3013C2B}" dt="2025-06-30T08:25:16.699" v="5119"/>
          <ac:graphicFrameMkLst>
            <pc:docMk/>
            <pc:sldMk cId="823850065" sldId="2147476199"/>
            <ac:graphicFrameMk id="2" creationId="{1881085B-4657-DDC1-2436-C14F18946629}"/>
          </ac:graphicFrameMkLst>
        </pc:graphicFrameChg>
        <pc:graphicFrameChg chg="mod modGraphic">
          <ac:chgData name="Iimura, Jinichi" userId="9e18df6b-b397-4f9f-a1c6-0abee7ae91a5" providerId="ADAL" clId="{8659CC36-693C-479B-B738-87E8E3013C2B}" dt="2025-06-30T09:14:27.518" v="6946" actId="20577"/>
          <ac:graphicFrameMkLst>
            <pc:docMk/>
            <pc:sldMk cId="823850065" sldId="2147476199"/>
            <ac:graphicFrameMk id="13" creationId="{62C58910-1FC0-C072-2ED0-7001F01DCEAB}"/>
          </ac:graphicFrameMkLst>
        </pc:graphicFrameChg>
      </pc:sldChg>
      <pc:sldChg chg="modSp mod">
        <pc:chgData name="Iimura, Jinichi" userId="9e18df6b-b397-4f9f-a1c6-0abee7ae91a5" providerId="ADAL" clId="{8659CC36-693C-479B-B738-87E8E3013C2B}" dt="2025-06-30T01:56:55.402" v="1223" actId="20577"/>
        <pc:sldMkLst>
          <pc:docMk/>
          <pc:sldMk cId="1018229851" sldId="2147476231"/>
        </pc:sldMkLst>
        <pc:spChg chg="mod">
          <ac:chgData name="Iimura, Jinichi" userId="9e18df6b-b397-4f9f-a1c6-0abee7ae91a5" providerId="ADAL" clId="{8659CC36-693C-479B-B738-87E8E3013C2B}" dt="2025-06-30T01:56:45.631" v="1204" actId="948"/>
          <ac:spMkLst>
            <pc:docMk/>
            <pc:sldMk cId="1018229851" sldId="2147476231"/>
            <ac:spMk id="4" creationId="{599FFCD3-4840-7D8A-EC3F-3642D5887971}"/>
          </ac:spMkLst>
        </pc:spChg>
        <pc:spChg chg="mod">
          <ac:chgData name="Iimura, Jinichi" userId="9e18df6b-b397-4f9f-a1c6-0abee7ae91a5" providerId="ADAL" clId="{8659CC36-693C-479B-B738-87E8E3013C2B}" dt="2025-06-30T01:56:55.402" v="1223" actId="20577"/>
          <ac:spMkLst>
            <pc:docMk/>
            <pc:sldMk cId="1018229851" sldId="2147476231"/>
            <ac:spMk id="10" creationId="{63BB9C2C-DCF6-C3B2-75F2-A145BE2371C9}"/>
          </ac:spMkLst>
        </pc:spChg>
        <pc:graphicFrameChg chg="mod">
          <ac:chgData name="Iimura, Jinichi" userId="9e18df6b-b397-4f9f-a1c6-0abee7ae91a5" providerId="ADAL" clId="{8659CC36-693C-479B-B738-87E8E3013C2B}" dt="2025-06-30T01:56:45.639" v="1206"/>
          <ac:graphicFrameMkLst>
            <pc:docMk/>
            <pc:sldMk cId="1018229851" sldId="2147476231"/>
            <ac:graphicFrameMk id="6" creationId="{1CF1F410-5184-899E-B5E0-8F3C15E8CB80}"/>
          </ac:graphicFrameMkLst>
        </pc:graphicFrameChg>
      </pc:sldChg>
      <pc:sldChg chg="del">
        <pc:chgData name="Iimura, Jinichi" userId="9e18df6b-b397-4f9f-a1c6-0abee7ae91a5" providerId="ADAL" clId="{8659CC36-693C-479B-B738-87E8E3013C2B}" dt="2025-06-30T00:32:35.389" v="155" actId="47"/>
        <pc:sldMkLst>
          <pc:docMk/>
          <pc:sldMk cId="3936988648" sldId="2147476232"/>
        </pc:sldMkLst>
      </pc:sldChg>
      <pc:sldChg chg="modSp del mod">
        <pc:chgData name="Iimura, Jinichi" userId="9e18df6b-b397-4f9f-a1c6-0abee7ae91a5" providerId="ADAL" clId="{8659CC36-693C-479B-B738-87E8E3013C2B}" dt="2025-06-30T00:32:35.389" v="155" actId="47"/>
        <pc:sldMkLst>
          <pc:docMk/>
          <pc:sldMk cId="2571871654" sldId="2147476233"/>
        </pc:sldMkLst>
        <pc:spChg chg="mod">
          <ac:chgData name="Iimura, Jinichi" userId="9e18df6b-b397-4f9f-a1c6-0abee7ae91a5" providerId="ADAL" clId="{8659CC36-693C-479B-B738-87E8E3013C2B}" dt="2025-06-30T00:26:24.518" v="154" actId="1076"/>
          <ac:spMkLst>
            <pc:docMk/>
            <pc:sldMk cId="2571871654" sldId="2147476233"/>
            <ac:spMk id="35" creationId="{71EAC60E-DDA7-63D8-B716-976588EB3617}"/>
          </ac:spMkLst>
        </pc:spChg>
      </pc:sldChg>
      <pc:sldChg chg="del">
        <pc:chgData name="Iimura, Jinichi" userId="9e18df6b-b397-4f9f-a1c6-0abee7ae91a5" providerId="ADAL" clId="{8659CC36-693C-479B-B738-87E8E3013C2B}" dt="2025-06-30T00:32:35.389" v="155" actId="47"/>
        <pc:sldMkLst>
          <pc:docMk/>
          <pc:sldMk cId="3293238788" sldId="2147476234"/>
        </pc:sldMkLst>
      </pc:sldChg>
      <pc:sldChg chg="del">
        <pc:chgData name="Iimura, Jinichi" userId="9e18df6b-b397-4f9f-a1c6-0abee7ae91a5" providerId="ADAL" clId="{8659CC36-693C-479B-B738-87E8E3013C2B}" dt="2025-06-30T00:32:35.389" v="155" actId="47"/>
        <pc:sldMkLst>
          <pc:docMk/>
          <pc:sldMk cId="1820211202" sldId="2147476236"/>
        </pc:sldMkLst>
      </pc:sldChg>
      <pc:sldChg chg="del">
        <pc:chgData name="Iimura, Jinichi" userId="9e18df6b-b397-4f9f-a1c6-0abee7ae91a5" providerId="ADAL" clId="{8659CC36-693C-479B-B738-87E8E3013C2B}" dt="2025-06-30T00:32:35.389" v="155" actId="47"/>
        <pc:sldMkLst>
          <pc:docMk/>
          <pc:sldMk cId="262131768" sldId="2147476237"/>
        </pc:sldMkLst>
      </pc:sldChg>
      <pc:sldChg chg="del">
        <pc:chgData name="Iimura, Jinichi" userId="9e18df6b-b397-4f9f-a1c6-0abee7ae91a5" providerId="ADAL" clId="{8659CC36-693C-479B-B738-87E8E3013C2B}" dt="2025-06-30T00:32:35.389" v="155" actId="47"/>
        <pc:sldMkLst>
          <pc:docMk/>
          <pc:sldMk cId="4078471621" sldId="2147476238"/>
        </pc:sldMkLst>
      </pc:sldChg>
      <pc:sldChg chg="del">
        <pc:chgData name="Iimura, Jinichi" userId="9e18df6b-b397-4f9f-a1c6-0abee7ae91a5" providerId="ADAL" clId="{8659CC36-693C-479B-B738-87E8E3013C2B}" dt="2025-06-30T00:32:35.389" v="155" actId="47"/>
        <pc:sldMkLst>
          <pc:docMk/>
          <pc:sldMk cId="3813427801" sldId="2147476239"/>
        </pc:sldMkLst>
      </pc:sldChg>
      <pc:sldChg chg="del">
        <pc:chgData name="Iimura, Jinichi" userId="9e18df6b-b397-4f9f-a1c6-0abee7ae91a5" providerId="ADAL" clId="{8659CC36-693C-479B-B738-87E8E3013C2B}" dt="2025-06-30T00:32:35.389" v="155" actId="47"/>
        <pc:sldMkLst>
          <pc:docMk/>
          <pc:sldMk cId="172478322" sldId="2147476240"/>
        </pc:sldMkLst>
      </pc:sldChg>
      <pc:sldChg chg="del">
        <pc:chgData name="Iimura, Jinichi" userId="9e18df6b-b397-4f9f-a1c6-0abee7ae91a5" providerId="ADAL" clId="{8659CC36-693C-479B-B738-87E8E3013C2B}" dt="2025-06-30T00:32:35.389" v="155" actId="47"/>
        <pc:sldMkLst>
          <pc:docMk/>
          <pc:sldMk cId="2345766149" sldId="2147476241"/>
        </pc:sldMkLst>
      </pc:sldChg>
      <pc:sldChg chg="del">
        <pc:chgData name="Iimura, Jinichi" userId="9e18df6b-b397-4f9f-a1c6-0abee7ae91a5" providerId="ADAL" clId="{8659CC36-693C-479B-B738-87E8E3013C2B}" dt="2025-06-30T00:32:35.389" v="155" actId="47"/>
        <pc:sldMkLst>
          <pc:docMk/>
          <pc:sldMk cId="1910156974" sldId="2147476244"/>
        </pc:sldMkLst>
      </pc:sldChg>
      <pc:sldChg chg="del">
        <pc:chgData name="Iimura, Jinichi" userId="9e18df6b-b397-4f9f-a1c6-0abee7ae91a5" providerId="ADAL" clId="{8659CC36-693C-479B-B738-87E8E3013C2B}" dt="2025-06-30T00:32:35.389" v="155" actId="47"/>
        <pc:sldMkLst>
          <pc:docMk/>
          <pc:sldMk cId="1667066026" sldId="2147476245"/>
        </pc:sldMkLst>
      </pc:sldChg>
      <pc:sldChg chg="del">
        <pc:chgData name="Iimura, Jinichi" userId="9e18df6b-b397-4f9f-a1c6-0abee7ae91a5" providerId="ADAL" clId="{8659CC36-693C-479B-B738-87E8E3013C2B}" dt="2025-06-30T00:32:35.389" v="155" actId="47"/>
        <pc:sldMkLst>
          <pc:docMk/>
          <pc:sldMk cId="2965808665" sldId="2147476246"/>
        </pc:sldMkLst>
      </pc:sldChg>
      <pc:sldChg chg="del">
        <pc:chgData name="Iimura, Jinichi" userId="9e18df6b-b397-4f9f-a1c6-0abee7ae91a5" providerId="ADAL" clId="{8659CC36-693C-479B-B738-87E8E3013C2B}" dt="2025-06-30T00:35:16.604" v="158" actId="47"/>
        <pc:sldMkLst>
          <pc:docMk/>
          <pc:sldMk cId="3336496979" sldId="2147476248"/>
        </pc:sldMkLst>
      </pc:sldChg>
      <pc:sldChg chg="addSp delSp modSp mod">
        <pc:chgData name="Iimura, Jinichi" userId="9e18df6b-b397-4f9f-a1c6-0abee7ae91a5" providerId="ADAL" clId="{8659CC36-693C-479B-B738-87E8E3013C2B}" dt="2025-07-03T04:20:41.825" v="14702"/>
        <pc:sldMkLst>
          <pc:docMk/>
          <pc:sldMk cId="1859531097" sldId="2147476249"/>
        </pc:sldMkLst>
        <pc:spChg chg="del mod">
          <ac:chgData name="Iimura, Jinichi" userId="9e18df6b-b397-4f9f-a1c6-0abee7ae91a5" providerId="ADAL" clId="{8659CC36-693C-479B-B738-87E8E3013C2B}" dt="2025-06-30T03:32:24.689" v="2113" actId="478"/>
          <ac:spMkLst>
            <pc:docMk/>
            <pc:sldMk cId="1859531097" sldId="2147476249"/>
            <ac:spMk id="2" creationId="{3B84560E-C9F3-C336-7F55-25F16E12EAD5}"/>
          </ac:spMkLst>
        </pc:spChg>
        <pc:spChg chg="mod">
          <ac:chgData name="Iimura, Jinichi" userId="9e18df6b-b397-4f9f-a1c6-0abee7ae91a5" providerId="ADAL" clId="{8659CC36-693C-479B-B738-87E8E3013C2B}" dt="2025-07-01T04:07:11.854" v="10387" actId="20577"/>
          <ac:spMkLst>
            <pc:docMk/>
            <pc:sldMk cId="1859531097" sldId="2147476249"/>
            <ac:spMk id="3" creationId="{D26E4138-15E8-5742-9FBA-E7FBE80D915F}"/>
          </ac:spMkLst>
        </pc:spChg>
        <pc:spChg chg="mod">
          <ac:chgData name="Iimura, Jinichi" userId="9e18df6b-b397-4f9f-a1c6-0abee7ae91a5" providerId="ADAL" clId="{8659CC36-693C-479B-B738-87E8E3013C2B}" dt="2025-06-30T01:37:58.091" v="904" actId="948"/>
          <ac:spMkLst>
            <pc:docMk/>
            <pc:sldMk cId="1859531097" sldId="2147476249"/>
            <ac:spMk id="4" creationId="{C0CD4ED1-0F74-83B6-F4AC-8C87103B97BF}"/>
          </ac:spMkLst>
        </pc:spChg>
        <pc:spChg chg="add mod">
          <ac:chgData name="Iimura, Jinichi" userId="9e18df6b-b397-4f9f-a1c6-0abee7ae91a5" providerId="ADAL" clId="{8659CC36-693C-479B-B738-87E8E3013C2B}" dt="2025-06-30T01:48:17.193" v="1083" actId="571"/>
          <ac:spMkLst>
            <pc:docMk/>
            <pc:sldMk cId="1859531097" sldId="2147476249"/>
            <ac:spMk id="10" creationId="{0EBA8EAE-EE98-F85B-E448-9CBE4369D04F}"/>
          </ac:spMkLst>
        </pc:spChg>
        <pc:spChg chg="mod">
          <ac:chgData name="Iimura, Jinichi" userId="9e18df6b-b397-4f9f-a1c6-0abee7ae91a5" providerId="ADAL" clId="{8659CC36-693C-479B-B738-87E8E3013C2B}" dt="2025-06-30T02:56:38.541" v="1462" actId="1076"/>
          <ac:spMkLst>
            <pc:docMk/>
            <pc:sldMk cId="1859531097" sldId="2147476249"/>
            <ac:spMk id="11" creationId="{0EC7281E-A90C-3C15-49DE-D55E499FAA99}"/>
          </ac:spMkLst>
        </pc:spChg>
        <pc:spChg chg="add del mod topLvl">
          <ac:chgData name="Iimura, Jinichi" userId="9e18df6b-b397-4f9f-a1c6-0abee7ae91a5" providerId="ADAL" clId="{8659CC36-693C-479B-B738-87E8E3013C2B}" dt="2025-06-30T03:17:15.989" v="1896" actId="20577"/>
          <ac:spMkLst>
            <pc:docMk/>
            <pc:sldMk cId="1859531097" sldId="2147476249"/>
            <ac:spMk id="12" creationId="{FA7B8201-B10C-CA15-B4C9-D60A9EC79CD8}"/>
          </ac:spMkLst>
        </pc:spChg>
        <pc:spChg chg="add del mod topLvl">
          <ac:chgData name="Iimura, Jinichi" userId="9e18df6b-b397-4f9f-a1c6-0abee7ae91a5" providerId="ADAL" clId="{8659CC36-693C-479B-B738-87E8E3013C2B}" dt="2025-06-30T03:07:14.437" v="1695" actId="1076"/>
          <ac:spMkLst>
            <pc:docMk/>
            <pc:sldMk cId="1859531097" sldId="2147476249"/>
            <ac:spMk id="13" creationId="{FF7658A8-B13E-BC20-5F6A-5892E86FFA86}"/>
          </ac:spMkLst>
        </pc:spChg>
        <pc:spChg chg="mod topLvl">
          <ac:chgData name="Iimura, Jinichi" userId="9e18df6b-b397-4f9f-a1c6-0abee7ae91a5" providerId="ADAL" clId="{8659CC36-693C-479B-B738-87E8E3013C2B}" dt="2025-07-01T03:11:14.889" v="10065" actId="6549"/>
          <ac:spMkLst>
            <pc:docMk/>
            <pc:sldMk cId="1859531097" sldId="2147476249"/>
            <ac:spMk id="15" creationId="{F599A748-211D-BB62-0D32-D176DAF953E6}"/>
          </ac:spMkLst>
        </pc:spChg>
        <pc:spChg chg="del mod topLvl">
          <ac:chgData name="Iimura, Jinichi" userId="9e18df6b-b397-4f9f-a1c6-0abee7ae91a5" providerId="ADAL" clId="{8659CC36-693C-479B-B738-87E8E3013C2B}" dt="2025-06-30T02:55:17.120" v="1446" actId="478"/>
          <ac:spMkLst>
            <pc:docMk/>
            <pc:sldMk cId="1859531097" sldId="2147476249"/>
            <ac:spMk id="17" creationId="{BA9954D5-4C47-C33D-F417-D7C272E45BE3}"/>
          </ac:spMkLst>
        </pc:spChg>
        <pc:spChg chg="mod topLvl">
          <ac:chgData name="Iimura, Jinichi" userId="9e18df6b-b397-4f9f-a1c6-0abee7ae91a5" providerId="ADAL" clId="{8659CC36-693C-479B-B738-87E8E3013C2B}" dt="2025-07-01T03:11:17.507" v="10066" actId="6549"/>
          <ac:spMkLst>
            <pc:docMk/>
            <pc:sldMk cId="1859531097" sldId="2147476249"/>
            <ac:spMk id="18" creationId="{B85305EE-5993-8388-4926-229A068A2D47}"/>
          </ac:spMkLst>
        </pc:spChg>
        <pc:spChg chg="mod topLvl">
          <ac:chgData name="Iimura, Jinichi" userId="9e18df6b-b397-4f9f-a1c6-0abee7ae91a5" providerId="ADAL" clId="{8659CC36-693C-479B-B738-87E8E3013C2B}" dt="2025-07-01T01:34:32.970" v="8799" actId="1076"/>
          <ac:spMkLst>
            <pc:docMk/>
            <pc:sldMk cId="1859531097" sldId="2147476249"/>
            <ac:spMk id="19" creationId="{2D4A9EF6-BEA3-935F-979C-C6DF0B046C0F}"/>
          </ac:spMkLst>
        </pc:spChg>
        <pc:spChg chg="del mod topLvl">
          <ac:chgData name="Iimura, Jinichi" userId="9e18df6b-b397-4f9f-a1c6-0abee7ae91a5" providerId="ADAL" clId="{8659CC36-693C-479B-B738-87E8E3013C2B}" dt="2025-06-30T03:09:13.667" v="1716" actId="478"/>
          <ac:spMkLst>
            <pc:docMk/>
            <pc:sldMk cId="1859531097" sldId="2147476249"/>
            <ac:spMk id="20" creationId="{0EE6FFC3-6B6E-F000-CBEC-61DC2965F598}"/>
          </ac:spMkLst>
        </pc:spChg>
        <pc:spChg chg="mod topLvl">
          <ac:chgData name="Iimura, Jinichi" userId="9e18df6b-b397-4f9f-a1c6-0abee7ae91a5" providerId="ADAL" clId="{8659CC36-693C-479B-B738-87E8E3013C2B}" dt="2025-07-01T01:34:32.970" v="8799" actId="1076"/>
          <ac:spMkLst>
            <pc:docMk/>
            <pc:sldMk cId="1859531097" sldId="2147476249"/>
            <ac:spMk id="21" creationId="{D5F377DA-8991-CBD9-DEB2-C631C5821F08}"/>
          </ac:spMkLst>
        </pc:spChg>
        <pc:spChg chg="add mod">
          <ac:chgData name="Iimura, Jinichi" userId="9e18df6b-b397-4f9f-a1c6-0abee7ae91a5" providerId="ADAL" clId="{8659CC36-693C-479B-B738-87E8E3013C2B}" dt="2025-06-30T01:48:17.193" v="1083" actId="571"/>
          <ac:spMkLst>
            <pc:docMk/>
            <pc:sldMk cId="1859531097" sldId="2147476249"/>
            <ac:spMk id="25" creationId="{E7E17476-839C-FEEE-750F-4A409BCB9894}"/>
          </ac:spMkLst>
        </pc:spChg>
        <pc:spChg chg="add mod">
          <ac:chgData name="Iimura, Jinichi" userId="9e18df6b-b397-4f9f-a1c6-0abee7ae91a5" providerId="ADAL" clId="{8659CC36-693C-479B-B738-87E8E3013C2B}" dt="2025-06-30T01:48:17.193" v="1083" actId="571"/>
          <ac:spMkLst>
            <pc:docMk/>
            <pc:sldMk cId="1859531097" sldId="2147476249"/>
            <ac:spMk id="26" creationId="{266DED11-E663-9774-6512-C1FC2ADE5C83}"/>
          </ac:spMkLst>
        </pc:spChg>
        <pc:spChg chg="add mod">
          <ac:chgData name="Iimura, Jinichi" userId="9e18df6b-b397-4f9f-a1c6-0abee7ae91a5" providerId="ADAL" clId="{8659CC36-693C-479B-B738-87E8E3013C2B}" dt="2025-06-30T01:48:17.193" v="1083" actId="571"/>
          <ac:spMkLst>
            <pc:docMk/>
            <pc:sldMk cId="1859531097" sldId="2147476249"/>
            <ac:spMk id="27" creationId="{1F1D0EA1-997D-1544-F4D9-C0150E86FBB0}"/>
          </ac:spMkLst>
        </pc:spChg>
        <pc:spChg chg="mod topLvl">
          <ac:chgData name="Iimura, Jinichi" userId="9e18df6b-b397-4f9f-a1c6-0abee7ae91a5" providerId="ADAL" clId="{8659CC36-693C-479B-B738-87E8E3013C2B}" dt="2025-07-01T01:34:22.490" v="8798" actId="1076"/>
          <ac:spMkLst>
            <pc:docMk/>
            <pc:sldMk cId="1859531097" sldId="2147476249"/>
            <ac:spMk id="31" creationId="{DE966954-9564-D27C-51EC-66F29A0A4069}"/>
          </ac:spMkLst>
        </pc:spChg>
        <pc:spChg chg="mod topLvl">
          <ac:chgData name="Iimura, Jinichi" userId="9e18df6b-b397-4f9f-a1c6-0abee7ae91a5" providerId="ADAL" clId="{8659CC36-693C-479B-B738-87E8E3013C2B}" dt="2025-07-01T01:35:57.547" v="8927" actId="1076"/>
          <ac:spMkLst>
            <pc:docMk/>
            <pc:sldMk cId="1859531097" sldId="2147476249"/>
            <ac:spMk id="32" creationId="{20F21351-0918-6AF4-6B7C-D00F092C806B}"/>
          </ac:spMkLst>
        </pc:spChg>
        <pc:spChg chg="mod topLvl">
          <ac:chgData name="Iimura, Jinichi" userId="9e18df6b-b397-4f9f-a1c6-0abee7ae91a5" providerId="ADAL" clId="{8659CC36-693C-479B-B738-87E8E3013C2B}" dt="2025-07-01T03:11:19.388" v="10067" actId="6549"/>
          <ac:spMkLst>
            <pc:docMk/>
            <pc:sldMk cId="1859531097" sldId="2147476249"/>
            <ac:spMk id="33" creationId="{7727D9AC-836F-C7BB-77FC-41D54F08FE8E}"/>
          </ac:spMkLst>
        </pc:spChg>
        <pc:spChg chg="del mod topLvl">
          <ac:chgData name="Iimura, Jinichi" userId="9e18df6b-b397-4f9f-a1c6-0abee7ae91a5" providerId="ADAL" clId="{8659CC36-693C-479B-B738-87E8E3013C2B}" dt="2025-06-30T03:17:58.750" v="1923" actId="478"/>
          <ac:spMkLst>
            <pc:docMk/>
            <pc:sldMk cId="1859531097" sldId="2147476249"/>
            <ac:spMk id="34" creationId="{77FECD65-87E2-0B9C-7FBB-C770303D75EF}"/>
          </ac:spMkLst>
        </pc:spChg>
        <pc:spChg chg="del mod topLvl">
          <ac:chgData name="Iimura, Jinichi" userId="9e18df6b-b397-4f9f-a1c6-0abee7ae91a5" providerId="ADAL" clId="{8659CC36-693C-479B-B738-87E8E3013C2B}" dt="2025-07-01T01:31:59.031" v="8704" actId="478"/>
          <ac:spMkLst>
            <pc:docMk/>
            <pc:sldMk cId="1859531097" sldId="2147476249"/>
            <ac:spMk id="35" creationId="{EB859FA2-D846-36FC-D426-A73BED3983E8}"/>
          </ac:spMkLst>
        </pc:spChg>
        <pc:spChg chg="del mod topLvl">
          <ac:chgData name="Iimura, Jinichi" userId="9e18df6b-b397-4f9f-a1c6-0abee7ae91a5" providerId="ADAL" clId="{8659CC36-693C-479B-B738-87E8E3013C2B}" dt="2025-07-01T01:31:59.031" v="8704" actId="478"/>
          <ac:spMkLst>
            <pc:docMk/>
            <pc:sldMk cId="1859531097" sldId="2147476249"/>
            <ac:spMk id="36" creationId="{1B34CB90-071C-E8FD-1117-55BB62DB41DE}"/>
          </ac:spMkLst>
        </pc:spChg>
        <pc:spChg chg="del mod topLvl">
          <ac:chgData name="Iimura, Jinichi" userId="9e18df6b-b397-4f9f-a1c6-0abee7ae91a5" providerId="ADAL" clId="{8659CC36-693C-479B-B738-87E8E3013C2B}" dt="2025-06-30T03:18:46.025" v="1940" actId="478"/>
          <ac:spMkLst>
            <pc:docMk/>
            <pc:sldMk cId="1859531097" sldId="2147476249"/>
            <ac:spMk id="37" creationId="{995E6EA0-F358-2E15-0B64-98DC7673CE24}"/>
          </ac:spMkLst>
        </pc:spChg>
        <pc:spChg chg="del mod topLvl">
          <ac:chgData name="Iimura, Jinichi" userId="9e18df6b-b397-4f9f-a1c6-0abee7ae91a5" providerId="ADAL" clId="{8659CC36-693C-479B-B738-87E8E3013C2B}" dt="2025-07-01T01:31:59.031" v="8704" actId="478"/>
          <ac:spMkLst>
            <pc:docMk/>
            <pc:sldMk cId="1859531097" sldId="2147476249"/>
            <ac:spMk id="38" creationId="{CFBD0683-8EAD-1253-5903-436794324D63}"/>
          </ac:spMkLst>
        </pc:spChg>
        <pc:spChg chg="del">
          <ac:chgData name="Iimura, Jinichi" userId="9e18df6b-b397-4f9f-a1c6-0abee7ae91a5" providerId="ADAL" clId="{8659CC36-693C-479B-B738-87E8E3013C2B}" dt="2025-06-30T01:48:02.134" v="1077" actId="478"/>
          <ac:spMkLst>
            <pc:docMk/>
            <pc:sldMk cId="1859531097" sldId="2147476249"/>
            <ac:spMk id="66" creationId="{8A339021-7014-D902-DAE4-712C3FA18771}"/>
          </ac:spMkLst>
        </pc:spChg>
        <pc:spChg chg="add del mod topLvl">
          <ac:chgData name="Iimura, Jinichi" userId="9e18df6b-b397-4f9f-a1c6-0abee7ae91a5" providerId="ADAL" clId="{8659CC36-693C-479B-B738-87E8E3013C2B}" dt="2025-06-30T02:45:58.432" v="1432" actId="478"/>
          <ac:spMkLst>
            <pc:docMk/>
            <pc:sldMk cId="1859531097" sldId="2147476249"/>
            <ac:spMk id="79" creationId="{C2AA6242-F4FF-EDCA-C4D9-7A4BEAE81E18}"/>
          </ac:spMkLst>
        </pc:spChg>
        <pc:spChg chg="add del mod">
          <ac:chgData name="Iimura, Jinichi" userId="9e18df6b-b397-4f9f-a1c6-0abee7ae91a5" providerId="ADAL" clId="{8659CC36-693C-479B-B738-87E8E3013C2B}" dt="2025-06-30T03:07:14.437" v="1695" actId="1076"/>
          <ac:spMkLst>
            <pc:docMk/>
            <pc:sldMk cId="1859531097" sldId="2147476249"/>
            <ac:spMk id="100" creationId="{EFAAC406-CE13-E1A4-8474-CEAE3043645F}"/>
          </ac:spMkLst>
        </pc:spChg>
        <pc:spChg chg="add del mod">
          <ac:chgData name="Iimura, Jinichi" userId="9e18df6b-b397-4f9f-a1c6-0abee7ae91a5" providerId="ADAL" clId="{8659CC36-693C-479B-B738-87E8E3013C2B}" dt="2025-06-30T03:07:14.437" v="1695" actId="1076"/>
          <ac:spMkLst>
            <pc:docMk/>
            <pc:sldMk cId="1859531097" sldId="2147476249"/>
            <ac:spMk id="116" creationId="{8939C458-6168-D5BF-FF0D-ABE2E7E5BFFE}"/>
          </ac:spMkLst>
        </pc:spChg>
        <pc:spChg chg="add del mod">
          <ac:chgData name="Iimura, Jinichi" userId="9e18df6b-b397-4f9f-a1c6-0abee7ae91a5" providerId="ADAL" clId="{8659CC36-693C-479B-B738-87E8E3013C2B}" dt="2025-06-30T03:07:14.437" v="1695" actId="1076"/>
          <ac:spMkLst>
            <pc:docMk/>
            <pc:sldMk cId="1859531097" sldId="2147476249"/>
            <ac:spMk id="135" creationId="{77893051-8EAA-013A-E796-77476F55C319}"/>
          </ac:spMkLst>
        </pc:spChg>
        <pc:spChg chg="add del mod">
          <ac:chgData name="Iimura, Jinichi" userId="9e18df6b-b397-4f9f-a1c6-0abee7ae91a5" providerId="ADAL" clId="{8659CC36-693C-479B-B738-87E8E3013C2B}" dt="2025-06-30T03:07:14.437" v="1695" actId="1076"/>
          <ac:spMkLst>
            <pc:docMk/>
            <pc:sldMk cId="1859531097" sldId="2147476249"/>
            <ac:spMk id="136" creationId="{14D1A913-3EF7-CFEE-A5C9-7FA27896BE7F}"/>
          </ac:spMkLst>
        </pc:spChg>
        <pc:spChg chg="add del mod">
          <ac:chgData name="Iimura, Jinichi" userId="9e18df6b-b397-4f9f-a1c6-0abee7ae91a5" providerId="ADAL" clId="{8659CC36-693C-479B-B738-87E8E3013C2B}" dt="2025-06-30T03:08:53.391" v="1714" actId="1076"/>
          <ac:spMkLst>
            <pc:docMk/>
            <pc:sldMk cId="1859531097" sldId="2147476249"/>
            <ac:spMk id="149" creationId="{004644D5-9DAE-1860-C784-F2C65078123F}"/>
          </ac:spMkLst>
        </pc:spChg>
        <pc:spChg chg="add mod">
          <ac:chgData name="Iimura, Jinichi" userId="9e18df6b-b397-4f9f-a1c6-0abee7ae91a5" providerId="ADAL" clId="{8659CC36-693C-479B-B738-87E8E3013C2B}" dt="2025-07-01T01:34:32.970" v="8799" actId="1076"/>
          <ac:spMkLst>
            <pc:docMk/>
            <pc:sldMk cId="1859531097" sldId="2147476249"/>
            <ac:spMk id="174" creationId="{708A07D3-04A3-C6DA-FB6D-01A8154E5B27}"/>
          </ac:spMkLst>
        </pc:spChg>
        <pc:spChg chg="add mod">
          <ac:chgData name="Iimura, Jinichi" userId="9e18df6b-b397-4f9f-a1c6-0abee7ae91a5" providerId="ADAL" clId="{8659CC36-693C-479B-B738-87E8E3013C2B}" dt="2025-07-01T01:34:32.970" v="8799" actId="1076"/>
          <ac:spMkLst>
            <pc:docMk/>
            <pc:sldMk cId="1859531097" sldId="2147476249"/>
            <ac:spMk id="175" creationId="{ECB50186-1B8A-488D-83D5-69690C2FF95D}"/>
          </ac:spMkLst>
        </pc:spChg>
        <pc:spChg chg="add mod">
          <ac:chgData name="Iimura, Jinichi" userId="9e18df6b-b397-4f9f-a1c6-0abee7ae91a5" providerId="ADAL" clId="{8659CC36-693C-479B-B738-87E8E3013C2B}" dt="2025-07-01T01:34:32.970" v="8799" actId="1076"/>
          <ac:spMkLst>
            <pc:docMk/>
            <pc:sldMk cId="1859531097" sldId="2147476249"/>
            <ac:spMk id="178" creationId="{AC77F1E5-1F1D-3E15-087C-F9E23CD91B82}"/>
          </ac:spMkLst>
        </pc:spChg>
        <pc:spChg chg="add mod">
          <ac:chgData name="Iimura, Jinichi" userId="9e18df6b-b397-4f9f-a1c6-0abee7ae91a5" providerId="ADAL" clId="{8659CC36-693C-479B-B738-87E8E3013C2B}" dt="2025-07-01T01:34:32.970" v="8799" actId="1076"/>
          <ac:spMkLst>
            <pc:docMk/>
            <pc:sldMk cId="1859531097" sldId="2147476249"/>
            <ac:spMk id="179" creationId="{FAD8B0E5-0A31-A0AC-9A78-2915089F5CF7}"/>
          </ac:spMkLst>
        </pc:spChg>
        <pc:spChg chg="add del mod">
          <ac:chgData name="Iimura, Jinichi" userId="9e18df6b-b397-4f9f-a1c6-0abee7ae91a5" providerId="ADAL" clId="{8659CC36-693C-479B-B738-87E8E3013C2B}" dt="2025-06-30T03:17:19.119" v="1897" actId="478"/>
          <ac:spMkLst>
            <pc:docMk/>
            <pc:sldMk cId="1859531097" sldId="2147476249"/>
            <ac:spMk id="185" creationId="{93596AD2-F69F-E8B4-B142-FB4DF3E7572A}"/>
          </ac:spMkLst>
        </pc:spChg>
        <pc:spChg chg="add mod">
          <ac:chgData name="Iimura, Jinichi" userId="9e18df6b-b397-4f9f-a1c6-0abee7ae91a5" providerId="ADAL" clId="{8659CC36-693C-479B-B738-87E8E3013C2B}" dt="2025-07-01T01:35:57.547" v="8927" actId="1076"/>
          <ac:spMkLst>
            <pc:docMk/>
            <pc:sldMk cId="1859531097" sldId="2147476249"/>
            <ac:spMk id="190" creationId="{C55567AE-3707-F092-8316-53803A762EA4}"/>
          </ac:spMkLst>
        </pc:spChg>
        <pc:spChg chg="add del mod">
          <ac:chgData name="Iimura, Jinichi" userId="9e18df6b-b397-4f9f-a1c6-0abee7ae91a5" providerId="ADAL" clId="{8659CC36-693C-479B-B738-87E8E3013C2B}" dt="2025-06-30T03:18:54.912" v="1943" actId="478"/>
          <ac:spMkLst>
            <pc:docMk/>
            <pc:sldMk cId="1859531097" sldId="2147476249"/>
            <ac:spMk id="195" creationId="{B3EB0C2D-3D8F-7EED-4F24-F688A8350AF8}"/>
          </ac:spMkLst>
        </pc:spChg>
        <pc:spChg chg="add del mod">
          <ac:chgData name="Iimura, Jinichi" userId="9e18df6b-b397-4f9f-a1c6-0abee7ae91a5" providerId="ADAL" clId="{8659CC36-693C-479B-B738-87E8E3013C2B}" dt="2025-06-30T03:19:03.435" v="1945" actId="478"/>
          <ac:spMkLst>
            <pc:docMk/>
            <pc:sldMk cId="1859531097" sldId="2147476249"/>
            <ac:spMk id="197" creationId="{EA696AF1-894C-B2A5-21DF-08EDD3DFB4D1}"/>
          </ac:spMkLst>
        </pc:spChg>
        <pc:spChg chg="add del mod">
          <ac:chgData name="Iimura, Jinichi" userId="9e18df6b-b397-4f9f-a1c6-0abee7ae91a5" providerId="ADAL" clId="{8659CC36-693C-479B-B738-87E8E3013C2B}" dt="2025-07-01T01:31:59.031" v="8704" actId="478"/>
          <ac:spMkLst>
            <pc:docMk/>
            <pc:sldMk cId="1859531097" sldId="2147476249"/>
            <ac:spMk id="199" creationId="{AD0C3EC5-AB64-DCEF-E355-A5AC5F5EEFC6}"/>
          </ac:spMkLst>
        </pc:spChg>
        <pc:spChg chg="add del mod">
          <ac:chgData name="Iimura, Jinichi" userId="9e18df6b-b397-4f9f-a1c6-0abee7ae91a5" providerId="ADAL" clId="{8659CC36-693C-479B-B738-87E8E3013C2B}" dt="2025-07-01T01:31:59.031" v="8704" actId="478"/>
          <ac:spMkLst>
            <pc:docMk/>
            <pc:sldMk cId="1859531097" sldId="2147476249"/>
            <ac:spMk id="206" creationId="{5B6F375D-40BB-79EB-DC20-6B47AF55D973}"/>
          </ac:spMkLst>
        </pc:spChg>
        <pc:spChg chg="add del mod">
          <ac:chgData name="Iimura, Jinichi" userId="9e18df6b-b397-4f9f-a1c6-0abee7ae91a5" providerId="ADAL" clId="{8659CC36-693C-479B-B738-87E8E3013C2B}" dt="2025-07-01T01:31:59.031" v="8704" actId="478"/>
          <ac:spMkLst>
            <pc:docMk/>
            <pc:sldMk cId="1859531097" sldId="2147476249"/>
            <ac:spMk id="207" creationId="{68C0F955-048B-4332-B36D-655A83590DEF}"/>
          </ac:spMkLst>
        </pc:spChg>
        <pc:spChg chg="add del mod">
          <ac:chgData name="Iimura, Jinichi" userId="9e18df6b-b397-4f9f-a1c6-0abee7ae91a5" providerId="ADAL" clId="{8659CC36-693C-479B-B738-87E8E3013C2B}" dt="2025-07-01T01:31:59.031" v="8704" actId="478"/>
          <ac:spMkLst>
            <pc:docMk/>
            <pc:sldMk cId="1859531097" sldId="2147476249"/>
            <ac:spMk id="208" creationId="{2C44567B-889B-991B-76AD-04CFBA2FA8A4}"/>
          </ac:spMkLst>
        </pc:spChg>
        <pc:spChg chg="add del mod">
          <ac:chgData name="Iimura, Jinichi" userId="9e18df6b-b397-4f9f-a1c6-0abee7ae91a5" providerId="ADAL" clId="{8659CC36-693C-479B-B738-87E8E3013C2B}" dt="2025-07-01T01:31:59.031" v="8704" actId="478"/>
          <ac:spMkLst>
            <pc:docMk/>
            <pc:sldMk cId="1859531097" sldId="2147476249"/>
            <ac:spMk id="211" creationId="{4E2BDA79-E55E-738A-29B2-6E0A6BF5B895}"/>
          </ac:spMkLst>
        </pc:spChg>
        <pc:spChg chg="add mod">
          <ac:chgData name="Iimura, Jinichi" userId="9e18df6b-b397-4f9f-a1c6-0abee7ae91a5" providerId="ADAL" clId="{8659CC36-693C-479B-B738-87E8E3013C2B}" dt="2025-06-30T03:32:24.973" v="2114"/>
          <ac:spMkLst>
            <pc:docMk/>
            <pc:sldMk cId="1859531097" sldId="2147476249"/>
            <ac:spMk id="219" creationId="{28942CA0-03E4-28CF-B3B5-F5A59116AC2A}"/>
          </ac:spMkLst>
        </pc:spChg>
        <pc:spChg chg="add del">
          <ac:chgData name="Iimura, Jinichi" userId="9e18df6b-b397-4f9f-a1c6-0abee7ae91a5" providerId="ADAL" clId="{8659CC36-693C-479B-B738-87E8E3013C2B}" dt="2025-07-01T01:31:41.309" v="8702" actId="22"/>
          <ac:spMkLst>
            <pc:docMk/>
            <pc:sldMk cId="1859531097" sldId="2147476249"/>
            <ac:spMk id="226" creationId="{5086CBAE-1DF1-5934-7DCB-45B5AC44D4FC}"/>
          </ac:spMkLst>
        </pc:spChg>
        <pc:spChg chg="add mod">
          <ac:chgData name="Iimura, Jinichi" userId="9e18df6b-b397-4f9f-a1c6-0abee7ae91a5" providerId="ADAL" clId="{8659CC36-693C-479B-B738-87E8E3013C2B}" dt="2025-07-01T01:34:15.891" v="8796" actId="1076"/>
          <ac:spMkLst>
            <pc:docMk/>
            <pc:sldMk cId="1859531097" sldId="2147476249"/>
            <ac:spMk id="231" creationId="{9EC5A842-4EBE-782F-14D5-422E89C12431}"/>
          </ac:spMkLst>
        </pc:spChg>
        <pc:spChg chg="add del mod">
          <ac:chgData name="Iimura, Jinichi" userId="9e18df6b-b397-4f9f-a1c6-0abee7ae91a5" providerId="ADAL" clId="{8659CC36-693C-479B-B738-87E8E3013C2B}" dt="2025-07-02T14:02:22.719" v="13720" actId="478"/>
          <ac:spMkLst>
            <pc:docMk/>
            <pc:sldMk cId="1859531097" sldId="2147476249"/>
            <ac:spMk id="238" creationId="{02B1E5C4-9CCB-85EC-F696-3706D9B15C0F}"/>
          </ac:spMkLst>
        </pc:spChg>
        <pc:spChg chg="add mod">
          <ac:chgData name="Iimura, Jinichi" userId="9e18df6b-b397-4f9f-a1c6-0abee7ae91a5" providerId="ADAL" clId="{8659CC36-693C-479B-B738-87E8E3013C2B}" dt="2025-07-03T04:20:41.825" v="14702"/>
          <ac:spMkLst>
            <pc:docMk/>
            <pc:sldMk cId="1859531097" sldId="2147476249"/>
            <ac:spMk id="240" creationId="{E58B0DC1-4F9D-23DE-E5E3-5BF6B1471A3B}"/>
          </ac:spMkLst>
        </pc:spChg>
        <pc:grpChg chg="add del mod topLvl">
          <ac:chgData name="Iimura, Jinichi" userId="9e18df6b-b397-4f9f-a1c6-0abee7ae91a5" providerId="ADAL" clId="{8659CC36-693C-479B-B738-87E8E3013C2B}" dt="2025-06-30T01:50:52.053" v="1100" actId="165"/>
          <ac:grpSpMkLst>
            <pc:docMk/>
            <pc:sldMk cId="1859531097" sldId="2147476249"/>
            <ac:grpSpMk id="61" creationId="{D1BF702A-5866-23F7-1046-A233CD69E9FF}"/>
          </ac:grpSpMkLst>
        </pc:grpChg>
        <pc:grpChg chg="add del mod topLvl">
          <ac:chgData name="Iimura, Jinichi" userId="9e18df6b-b397-4f9f-a1c6-0abee7ae91a5" providerId="ADAL" clId="{8659CC36-693C-479B-B738-87E8E3013C2B}" dt="2025-06-30T01:50:52.053" v="1100" actId="165"/>
          <ac:grpSpMkLst>
            <pc:docMk/>
            <pc:sldMk cId="1859531097" sldId="2147476249"/>
            <ac:grpSpMk id="62" creationId="{A800D16E-F4A2-8BF4-0E49-5390AD965067}"/>
          </ac:grpSpMkLst>
        </pc:grpChg>
        <pc:grpChg chg="add del mod topLvl">
          <ac:chgData name="Iimura, Jinichi" userId="9e18df6b-b397-4f9f-a1c6-0abee7ae91a5" providerId="ADAL" clId="{8659CC36-693C-479B-B738-87E8E3013C2B}" dt="2025-06-30T01:50:52.053" v="1100" actId="165"/>
          <ac:grpSpMkLst>
            <pc:docMk/>
            <pc:sldMk cId="1859531097" sldId="2147476249"/>
            <ac:grpSpMk id="64" creationId="{C62C321F-FBDA-8B5D-D5F7-A9D55323D20A}"/>
          </ac:grpSpMkLst>
        </pc:grpChg>
        <pc:grpChg chg="add del mod topLvl">
          <ac:chgData name="Iimura, Jinichi" userId="9e18df6b-b397-4f9f-a1c6-0abee7ae91a5" providerId="ADAL" clId="{8659CC36-693C-479B-B738-87E8E3013C2B}" dt="2025-06-30T01:50:52.053" v="1100" actId="165"/>
          <ac:grpSpMkLst>
            <pc:docMk/>
            <pc:sldMk cId="1859531097" sldId="2147476249"/>
            <ac:grpSpMk id="65" creationId="{B498F775-C11C-0775-D46C-025B0C3F0F27}"/>
          </ac:grpSpMkLst>
        </pc:grpChg>
        <pc:grpChg chg="add del mod">
          <ac:chgData name="Iimura, Jinichi" userId="9e18df6b-b397-4f9f-a1c6-0abee7ae91a5" providerId="ADAL" clId="{8659CC36-693C-479B-B738-87E8E3013C2B}" dt="2025-06-30T01:50:51.629" v="1099" actId="165"/>
          <ac:grpSpMkLst>
            <pc:docMk/>
            <pc:sldMk cId="1859531097" sldId="2147476249"/>
            <ac:grpSpMk id="67" creationId="{56EC687A-5D9B-F941-E27B-43F1078486D6}"/>
          </ac:grpSpMkLst>
        </pc:grpChg>
        <pc:grpChg chg="add del mod">
          <ac:chgData name="Iimura, Jinichi" userId="9e18df6b-b397-4f9f-a1c6-0abee7ae91a5" providerId="ADAL" clId="{8659CC36-693C-479B-B738-87E8E3013C2B}" dt="2025-06-30T02:17:21.695" v="1426" actId="165"/>
          <ac:grpSpMkLst>
            <pc:docMk/>
            <pc:sldMk cId="1859531097" sldId="2147476249"/>
            <ac:grpSpMk id="68" creationId="{EBEE1C83-0270-E322-832F-99BE62E97FD3}"/>
          </ac:grpSpMkLst>
        </pc:grpChg>
        <pc:grpChg chg="add del mod">
          <ac:chgData name="Iimura, Jinichi" userId="9e18df6b-b397-4f9f-a1c6-0abee7ae91a5" providerId="ADAL" clId="{8659CC36-693C-479B-B738-87E8E3013C2B}" dt="2025-06-30T02:17:21.695" v="1426" actId="165"/>
          <ac:grpSpMkLst>
            <pc:docMk/>
            <pc:sldMk cId="1859531097" sldId="2147476249"/>
            <ac:grpSpMk id="69" creationId="{C3680BE3-F232-B11C-956A-27795E908B71}"/>
          </ac:grpSpMkLst>
        </pc:grpChg>
        <pc:grpChg chg="add del mod">
          <ac:chgData name="Iimura, Jinichi" userId="9e18df6b-b397-4f9f-a1c6-0abee7ae91a5" providerId="ADAL" clId="{8659CC36-693C-479B-B738-87E8E3013C2B}" dt="2025-06-30T02:17:21.695" v="1426" actId="165"/>
          <ac:grpSpMkLst>
            <pc:docMk/>
            <pc:sldMk cId="1859531097" sldId="2147476249"/>
            <ac:grpSpMk id="70" creationId="{6530B1D1-AA14-D51A-4D32-DC978671D972}"/>
          </ac:grpSpMkLst>
        </pc:grpChg>
        <pc:grpChg chg="add del mod">
          <ac:chgData name="Iimura, Jinichi" userId="9e18df6b-b397-4f9f-a1c6-0abee7ae91a5" providerId="ADAL" clId="{8659CC36-693C-479B-B738-87E8E3013C2B}" dt="2025-06-30T02:17:21.695" v="1426" actId="165"/>
          <ac:grpSpMkLst>
            <pc:docMk/>
            <pc:sldMk cId="1859531097" sldId="2147476249"/>
            <ac:grpSpMk id="71" creationId="{BD526EED-CF68-0C22-9262-9FA5612DA62B}"/>
          </ac:grpSpMkLst>
        </pc:grpChg>
        <pc:grpChg chg="add del mod">
          <ac:chgData name="Iimura, Jinichi" userId="9e18df6b-b397-4f9f-a1c6-0abee7ae91a5" providerId="ADAL" clId="{8659CC36-693C-479B-B738-87E8E3013C2B}" dt="2025-06-30T03:07:00.160" v="1694" actId="165"/>
          <ac:grpSpMkLst>
            <pc:docMk/>
            <pc:sldMk cId="1859531097" sldId="2147476249"/>
            <ac:grpSpMk id="145" creationId="{A8E00569-7724-8E57-23BF-0F1B848D741D}"/>
          </ac:grpSpMkLst>
        </pc:grpChg>
        <pc:grpChg chg="add del mod">
          <ac:chgData name="Iimura, Jinichi" userId="9e18df6b-b397-4f9f-a1c6-0abee7ae91a5" providerId="ADAL" clId="{8659CC36-693C-479B-B738-87E8E3013C2B}" dt="2025-06-30T03:07:00.160" v="1694" actId="165"/>
          <ac:grpSpMkLst>
            <pc:docMk/>
            <pc:sldMk cId="1859531097" sldId="2147476249"/>
            <ac:grpSpMk id="146" creationId="{F96DF689-0B30-CB4E-7638-F58EF6420C78}"/>
          </ac:grpSpMkLst>
        </pc:grpChg>
        <pc:grpChg chg="add del mod">
          <ac:chgData name="Iimura, Jinichi" userId="9e18df6b-b397-4f9f-a1c6-0abee7ae91a5" providerId="ADAL" clId="{8659CC36-693C-479B-B738-87E8E3013C2B}" dt="2025-06-30T03:07:00.160" v="1694" actId="165"/>
          <ac:grpSpMkLst>
            <pc:docMk/>
            <pc:sldMk cId="1859531097" sldId="2147476249"/>
            <ac:grpSpMk id="147" creationId="{F2A5CD68-B5D8-6F98-22EB-9A2F3E4A8172}"/>
          </ac:grpSpMkLst>
        </pc:grpChg>
        <pc:graphicFrameChg chg="mod">
          <ac:chgData name="Iimura, Jinichi" userId="9e18df6b-b397-4f9f-a1c6-0abee7ae91a5" providerId="ADAL" clId="{8659CC36-693C-479B-B738-87E8E3013C2B}" dt="2025-06-30T01:37:58.091" v="906"/>
          <ac:graphicFrameMkLst>
            <pc:docMk/>
            <pc:sldMk cId="1859531097" sldId="2147476249"/>
            <ac:graphicFrameMk id="7" creationId="{2A84D1DA-97ED-2719-33EF-A13650BDF72A}"/>
          </ac:graphicFrameMkLst>
        </pc:graphicFrameChg>
        <pc:picChg chg="add del mod modCrop">
          <ac:chgData name="Iimura, Jinichi" userId="9e18df6b-b397-4f9f-a1c6-0abee7ae91a5" providerId="ADAL" clId="{8659CC36-693C-479B-B738-87E8E3013C2B}" dt="2025-06-30T03:11:12.208" v="1854" actId="478"/>
          <ac:picMkLst>
            <pc:docMk/>
            <pc:sldMk cId="1859531097" sldId="2147476249"/>
            <ac:picMk id="76" creationId="{D93B0913-7C27-CB86-2121-714CA5A97D15}"/>
          </ac:picMkLst>
        </pc:picChg>
        <pc:cxnChg chg="add del mod topLvl">
          <ac:chgData name="Iimura, Jinichi" userId="9e18df6b-b397-4f9f-a1c6-0abee7ae91a5" providerId="ADAL" clId="{8659CC36-693C-479B-B738-87E8E3013C2B}" dt="2025-06-30T01:50:56.651" v="1103" actId="478"/>
          <ac:cxnSpMkLst>
            <pc:docMk/>
            <pc:sldMk cId="1859531097" sldId="2147476249"/>
            <ac:cxnSpMk id="3" creationId="{A99A2194-5B75-8147-5485-3D189111844F}"/>
          </ac:cxnSpMkLst>
        </pc:cxnChg>
        <pc:cxnChg chg="mod topLvl">
          <ac:chgData name="Iimura, Jinichi" userId="9e18df6b-b397-4f9f-a1c6-0abee7ae91a5" providerId="ADAL" clId="{8659CC36-693C-479B-B738-87E8E3013C2B}" dt="2025-06-30T03:07:22.838" v="1699" actId="14100"/>
          <ac:cxnSpMkLst>
            <pc:docMk/>
            <pc:sldMk cId="1859531097" sldId="2147476249"/>
            <ac:cxnSpMk id="14" creationId="{F10F571C-D0AD-66FE-3042-772090E4B0EA}"/>
          </ac:cxnSpMkLst>
        </pc:cxnChg>
        <pc:cxnChg chg="mod">
          <ac:chgData name="Iimura, Jinichi" userId="9e18df6b-b397-4f9f-a1c6-0abee7ae91a5" providerId="ADAL" clId="{8659CC36-693C-479B-B738-87E8E3013C2B}" dt="2025-06-30T02:57:26.854" v="1517" actId="14100"/>
          <ac:cxnSpMkLst>
            <pc:docMk/>
            <pc:sldMk cId="1859531097" sldId="2147476249"/>
            <ac:cxnSpMk id="16" creationId="{D3294AEF-132B-EEC9-8CDD-F9A9B3615206}"/>
          </ac:cxnSpMkLst>
        </pc:cxnChg>
        <pc:cxnChg chg="mod topLvl">
          <ac:chgData name="Iimura, Jinichi" userId="9e18df6b-b397-4f9f-a1c6-0abee7ae91a5" providerId="ADAL" clId="{8659CC36-693C-479B-B738-87E8E3013C2B}" dt="2025-07-01T01:34:32.970" v="8799" actId="1076"/>
          <ac:cxnSpMkLst>
            <pc:docMk/>
            <pc:sldMk cId="1859531097" sldId="2147476249"/>
            <ac:cxnSpMk id="22" creationId="{026C6372-24E8-0C75-95F0-EC532F87C8E3}"/>
          </ac:cxnSpMkLst>
        </pc:cxnChg>
        <pc:cxnChg chg="mod topLvl">
          <ac:chgData name="Iimura, Jinichi" userId="9e18df6b-b397-4f9f-a1c6-0abee7ae91a5" providerId="ADAL" clId="{8659CC36-693C-479B-B738-87E8E3013C2B}" dt="2025-07-01T01:34:32.970" v="8799" actId="1076"/>
          <ac:cxnSpMkLst>
            <pc:docMk/>
            <pc:sldMk cId="1859531097" sldId="2147476249"/>
            <ac:cxnSpMk id="23" creationId="{C1CFC255-D82A-A91C-58F4-D31F804F78FB}"/>
          </ac:cxnSpMkLst>
        </pc:cxnChg>
        <pc:cxnChg chg="mod topLvl">
          <ac:chgData name="Iimura, Jinichi" userId="9e18df6b-b397-4f9f-a1c6-0abee7ae91a5" providerId="ADAL" clId="{8659CC36-693C-479B-B738-87E8E3013C2B}" dt="2025-06-30T03:07:19.428" v="1698" actId="14100"/>
          <ac:cxnSpMkLst>
            <pc:docMk/>
            <pc:sldMk cId="1859531097" sldId="2147476249"/>
            <ac:cxnSpMk id="24" creationId="{CC0F81B0-F524-0017-82F0-75A932D3C179}"/>
          </ac:cxnSpMkLst>
        </pc:cxnChg>
        <pc:cxnChg chg="add mod">
          <ac:chgData name="Iimura, Jinichi" userId="9e18df6b-b397-4f9f-a1c6-0abee7ae91a5" providerId="ADAL" clId="{8659CC36-693C-479B-B738-87E8E3013C2B}" dt="2025-06-30T01:48:17.193" v="1083" actId="571"/>
          <ac:cxnSpMkLst>
            <pc:docMk/>
            <pc:sldMk cId="1859531097" sldId="2147476249"/>
            <ac:cxnSpMk id="28" creationId="{07AE9402-AB57-7EB0-0193-E037BBDA6FB6}"/>
          </ac:cxnSpMkLst>
        </pc:cxnChg>
        <pc:cxnChg chg="add mod">
          <ac:chgData name="Iimura, Jinichi" userId="9e18df6b-b397-4f9f-a1c6-0abee7ae91a5" providerId="ADAL" clId="{8659CC36-693C-479B-B738-87E8E3013C2B}" dt="2025-06-30T01:48:17.193" v="1083" actId="571"/>
          <ac:cxnSpMkLst>
            <pc:docMk/>
            <pc:sldMk cId="1859531097" sldId="2147476249"/>
            <ac:cxnSpMk id="29" creationId="{A84BD475-4DA2-E956-E57A-A003F68A6616}"/>
          </ac:cxnSpMkLst>
        </pc:cxnChg>
        <pc:cxnChg chg="add mod">
          <ac:chgData name="Iimura, Jinichi" userId="9e18df6b-b397-4f9f-a1c6-0abee7ae91a5" providerId="ADAL" clId="{8659CC36-693C-479B-B738-87E8E3013C2B}" dt="2025-06-30T01:48:17.193" v="1083" actId="571"/>
          <ac:cxnSpMkLst>
            <pc:docMk/>
            <pc:sldMk cId="1859531097" sldId="2147476249"/>
            <ac:cxnSpMk id="30" creationId="{4D765425-A3CD-5173-C40A-B91ADA6B8CEB}"/>
          </ac:cxnSpMkLst>
        </pc:cxnChg>
        <pc:cxnChg chg="add mod">
          <ac:chgData name="Iimura, Jinichi" userId="9e18df6b-b397-4f9f-a1c6-0abee7ae91a5" providerId="ADAL" clId="{8659CC36-693C-479B-B738-87E8E3013C2B}" dt="2025-06-30T01:48:17.193" v="1083" actId="571"/>
          <ac:cxnSpMkLst>
            <pc:docMk/>
            <pc:sldMk cId="1859531097" sldId="2147476249"/>
            <ac:cxnSpMk id="39" creationId="{FAF10899-630B-FE55-9A10-F8C95998FD92}"/>
          </ac:cxnSpMkLst>
        </pc:cxnChg>
        <pc:cxnChg chg="del mod topLvl">
          <ac:chgData name="Iimura, Jinichi" userId="9e18df6b-b397-4f9f-a1c6-0abee7ae91a5" providerId="ADAL" clId="{8659CC36-693C-479B-B738-87E8E3013C2B}" dt="2025-06-30T03:09:16.341" v="1717" actId="478"/>
          <ac:cxnSpMkLst>
            <pc:docMk/>
            <pc:sldMk cId="1859531097" sldId="2147476249"/>
            <ac:cxnSpMk id="40" creationId="{E14BAE8A-E2AC-2C03-DC57-8EEEC2BDEA74}"/>
          </ac:cxnSpMkLst>
        </pc:cxnChg>
        <pc:cxnChg chg="del mod topLvl">
          <ac:chgData name="Iimura, Jinichi" userId="9e18df6b-b397-4f9f-a1c6-0abee7ae91a5" providerId="ADAL" clId="{8659CC36-693C-479B-B738-87E8E3013C2B}" dt="2025-06-30T02:55:17.952" v="1447" actId="478"/>
          <ac:cxnSpMkLst>
            <pc:docMk/>
            <pc:sldMk cId="1859531097" sldId="2147476249"/>
            <ac:cxnSpMk id="41" creationId="{5326B0FD-9676-0F12-3BF3-127EDECF4DEE}"/>
          </ac:cxnSpMkLst>
        </pc:cxnChg>
        <pc:cxnChg chg="mod topLvl">
          <ac:chgData name="Iimura, Jinichi" userId="9e18df6b-b397-4f9f-a1c6-0abee7ae91a5" providerId="ADAL" clId="{8659CC36-693C-479B-B738-87E8E3013C2B}" dt="2025-07-01T01:34:22.490" v="8798" actId="1076"/>
          <ac:cxnSpMkLst>
            <pc:docMk/>
            <pc:sldMk cId="1859531097" sldId="2147476249"/>
            <ac:cxnSpMk id="42" creationId="{86859C7E-7FD0-D7D3-97EE-D8740818B5EF}"/>
          </ac:cxnSpMkLst>
        </pc:cxnChg>
        <pc:cxnChg chg="mod topLvl">
          <ac:chgData name="Iimura, Jinichi" userId="9e18df6b-b397-4f9f-a1c6-0abee7ae91a5" providerId="ADAL" clId="{8659CC36-693C-479B-B738-87E8E3013C2B}" dt="2025-07-01T01:35:57.547" v="8927" actId="1076"/>
          <ac:cxnSpMkLst>
            <pc:docMk/>
            <pc:sldMk cId="1859531097" sldId="2147476249"/>
            <ac:cxnSpMk id="43" creationId="{DD12EB4E-0D15-3098-CB9D-4B2325F7BD60}"/>
          </ac:cxnSpMkLst>
        </pc:cxnChg>
        <pc:cxnChg chg="add del mod topLvl">
          <ac:chgData name="Iimura, Jinichi" userId="9e18df6b-b397-4f9f-a1c6-0abee7ae91a5" providerId="ADAL" clId="{8659CC36-693C-479B-B738-87E8E3013C2B}" dt="2025-06-30T03:18:01.379" v="1924" actId="478"/>
          <ac:cxnSpMkLst>
            <pc:docMk/>
            <pc:sldMk cId="1859531097" sldId="2147476249"/>
            <ac:cxnSpMk id="44" creationId="{60CE68E1-BE05-80D2-8EB7-20022B79B704}"/>
          </ac:cxnSpMkLst>
        </pc:cxnChg>
        <pc:cxnChg chg="del mod topLvl">
          <ac:chgData name="Iimura, Jinichi" userId="9e18df6b-b397-4f9f-a1c6-0abee7ae91a5" providerId="ADAL" clId="{8659CC36-693C-479B-B738-87E8E3013C2B}" dt="2025-07-01T01:31:59.031" v="8704" actId="478"/>
          <ac:cxnSpMkLst>
            <pc:docMk/>
            <pc:sldMk cId="1859531097" sldId="2147476249"/>
            <ac:cxnSpMk id="45" creationId="{A50974C0-3B4F-637F-EAEC-FC5DA5C83881}"/>
          </ac:cxnSpMkLst>
        </pc:cxnChg>
        <pc:cxnChg chg="del mod topLvl">
          <ac:chgData name="Iimura, Jinichi" userId="9e18df6b-b397-4f9f-a1c6-0abee7ae91a5" providerId="ADAL" clId="{8659CC36-693C-479B-B738-87E8E3013C2B}" dt="2025-07-01T01:31:59.031" v="8704" actId="478"/>
          <ac:cxnSpMkLst>
            <pc:docMk/>
            <pc:sldMk cId="1859531097" sldId="2147476249"/>
            <ac:cxnSpMk id="46" creationId="{1ED8B4C6-B496-7772-D5C0-B7AD5058CF87}"/>
          </ac:cxnSpMkLst>
        </pc:cxnChg>
        <pc:cxnChg chg="del mod topLvl">
          <ac:chgData name="Iimura, Jinichi" userId="9e18df6b-b397-4f9f-a1c6-0abee7ae91a5" providerId="ADAL" clId="{8659CC36-693C-479B-B738-87E8E3013C2B}" dt="2025-06-30T03:18:48.050" v="1941" actId="478"/>
          <ac:cxnSpMkLst>
            <pc:docMk/>
            <pc:sldMk cId="1859531097" sldId="2147476249"/>
            <ac:cxnSpMk id="47" creationId="{28D9DABA-8289-845C-D8E4-14295979FE98}"/>
          </ac:cxnSpMkLst>
        </pc:cxnChg>
        <pc:cxnChg chg="del mod topLvl">
          <ac:chgData name="Iimura, Jinichi" userId="9e18df6b-b397-4f9f-a1c6-0abee7ae91a5" providerId="ADAL" clId="{8659CC36-693C-479B-B738-87E8E3013C2B}" dt="2025-06-30T02:55:18.878" v="1448" actId="478"/>
          <ac:cxnSpMkLst>
            <pc:docMk/>
            <pc:sldMk cId="1859531097" sldId="2147476249"/>
            <ac:cxnSpMk id="48" creationId="{3A69E3BD-B935-766C-40C5-6606D39A428D}"/>
          </ac:cxnSpMkLst>
        </pc:cxnChg>
        <pc:cxnChg chg="del mod topLvl">
          <ac:chgData name="Iimura, Jinichi" userId="9e18df6b-b397-4f9f-a1c6-0abee7ae91a5" providerId="ADAL" clId="{8659CC36-693C-479B-B738-87E8E3013C2B}" dt="2025-06-30T03:09:20.553" v="1718" actId="478"/>
          <ac:cxnSpMkLst>
            <pc:docMk/>
            <pc:sldMk cId="1859531097" sldId="2147476249"/>
            <ac:cxnSpMk id="49" creationId="{179D155F-F825-C8EE-D3CA-14D67684FD78}"/>
          </ac:cxnSpMkLst>
        </pc:cxnChg>
        <pc:cxnChg chg="del mod topLvl">
          <ac:chgData name="Iimura, Jinichi" userId="9e18df6b-b397-4f9f-a1c6-0abee7ae91a5" providerId="ADAL" clId="{8659CC36-693C-479B-B738-87E8E3013C2B}" dt="2025-06-30T03:18:02.888" v="1925" actId="478"/>
          <ac:cxnSpMkLst>
            <pc:docMk/>
            <pc:sldMk cId="1859531097" sldId="2147476249"/>
            <ac:cxnSpMk id="51" creationId="{3FF0DF12-3BFA-A0E3-B451-FDAC13264CEB}"/>
          </ac:cxnSpMkLst>
        </pc:cxnChg>
        <pc:cxnChg chg="del mod topLvl">
          <ac:chgData name="Iimura, Jinichi" userId="9e18df6b-b397-4f9f-a1c6-0abee7ae91a5" providerId="ADAL" clId="{8659CC36-693C-479B-B738-87E8E3013C2B}" dt="2025-06-30T03:18:42.584" v="1939" actId="478"/>
          <ac:cxnSpMkLst>
            <pc:docMk/>
            <pc:sldMk cId="1859531097" sldId="2147476249"/>
            <ac:cxnSpMk id="52" creationId="{7F848AFA-307C-DFBA-E4B6-55ED1A5F9F3E}"/>
          </ac:cxnSpMkLst>
        </pc:cxnChg>
        <pc:cxnChg chg="mod">
          <ac:chgData name="Iimura, Jinichi" userId="9e18df6b-b397-4f9f-a1c6-0abee7ae91a5" providerId="ADAL" clId="{8659CC36-693C-479B-B738-87E8E3013C2B}" dt="2025-07-01T01:34:32.970" v="8799" actId="1076"/>
          <ac:cxnSpMkLst>
            <pc:docMk/>
            <pc:sldMk cId="1859531097" sldId="2147476249"/>
            <ac:cxnSpMk id="53" creationId="{1F8EF0D7-25B6-B2B7-A0A3-65F999B4BBB4}"/>
          </ac:cxnSpMkLst>
        </pc:cxnChg>
        <pc:cxnChg chg="mod">
          <ac:chgData name="Iimura, Jinichi" userId="9e18df6b-b397-4f9f-a1c6-0abee7ae91a5" providerId="ADAL" clId="{8659CC36-693C-479B-B738-87E8E3013C2B}" dt="2025-07-01T01:34:22.490" v="8798" actId="1076"/>
          <ac:cxnSpMkLst>
            <pc:docMk/>
            <pc:sldMk cId="1859531097" sldId="2147476249"/>
            <ac:cxnSpMk id="54" creationId="{8D8F976A-8A31-9743-FFFD-47DB879400C1}"/>
          </ac:cxnSpMkLst>
        </pc:cxnChg>
        <pc:cxnChg chg="add del mod topLvl">
          <ac:chgData name="Iimura, Jinichi" userId="9e18df6b-b397-4f9f-a1c6-0abee7ae91a5" providerId="ADAL" clId="{8659CC36-693C-479B-B738-87E8E3013C2B}" dt="2025-06-30T01:50:55.631" v="1102" actId="478"/>
          <ac:cxnSpMkLst>
            <pc:docMk/>
            <pc:sldMk cId="1859531097" sldId="2147476249"/>
            <ac:cxnSpMk id="55" creationId="{23A08C98-D4A4-72CB-07E6-85ECE3B0F7DB}"/>
          </ac:cxnSpMkLst>
        </pc:cxnChg>
        <pc:cxnChg chg="add del mod topLvl">
          <ac:chgData name="Iimura, Jinichi" userId="9e18df6b-b397-4f9f-a1c6-0abee7ae91a5" providerId="ADAL" clId="{8659CC36-693C-479B-B738-87E8E3013C2B}" dt="2025-06-30T01:50:54.705" v="1101" actId="478"/>
          <ac:cxnSpMkLst>
            <pc:docMk/>
            <pc:sldMk cId="1859531097" sldId="2147476249"/>
            <ac:cxnSpMk id="58" creationId="{23FAB05E-F6E7-E389-A883-F582207F3139}"/>
          </ac:cxnSpMkLst>
        </pc:cxnChg>
        <pc:cxnChg chg="del mod">
          <ac:chgData name="Iimura, Jinichi" userId="9e18df6b-b397-4f9f-a1c6-0abee7ae91a5" providerId="ADAL" clId="{8659CC36-693C-479B-B738-87E8E3013C2B}" dt="2025-07-01T01:32:01.212" v="8705" actId="478"/>
          <ac:cxnSpMkLst>
            <pc:docMk/>
            <pc:sldMk cId="1859531097" sldId="2147476249"/>
            <ac:cxnSpMk id="63" creationId="{3C7D80C4-514F-66F9-3983-5323B434EBE8}"/>
          </ac:cxnSpMkLst>
        </pc:cxnChg>
        <pc:cxnChg chg="add del mod">
          <ac:chgData name="Iimura, Jinichi" userId="9e18df6b-b397-4f9f-a1c6-0abee7ae91a5" providerId="ADAL" clId="{8659CC36-693C-479B-B738-87E8E3013C2B}" dt="2025-06-30T02:57:21.845" v="1514" actId="478"/>
          <ac:cxnSpMkLst>
            <pc:docMk/>
            <pc:sldMk cId="1859531097" sldId="2147476249"/>
            <ac:cxnSpMk id="117" creationId="{13387790-FA90-3B12-DC66-D1CADB5EE6ED}"/>
          </ac:cxnSpMkLst>
        </pc:cxnChg>
        <pc:cxnChg chg="add del mod">
          <ac:chgData name="Iimura, Jinichi" userId="9e18df6b-b397-4f9f-a1c6-0abee7ae91a5" providerId="ADAL" clId="{8659CC36-693C-479B-B738-87E8E3013C2B}" dt="2025-06-30T02:57:42.624" v="1521" actId="478"/>
          <ac:cxnSpMkLst>
            <pc:docMk/>
            <pc:sldMk cId="1859531097" sldId="2147476249"/>
            <ac:cxnSpMk id="120" creationId="{16C342B7-B337-E6AE-705D-1669F97D42B8}"/>
          </ac:cxnSpMkLst>
        </pc:cxnChg>
        <pc:cxnChg chg="add del mod">
          <ac:chgData name="Iimura, Jinichi" userId="9e18df6b-b397-4f9f-a1c6-0abee7ae91a5" providerId="ADAL" clId="{8659CC36-693C-479B-B738-87E8E3013C2B}" dt="2025-06-30T03:07:14.437" v="1695" actId="1076"/>
          <ac:cxnSpMkLst>
            <pc:docMk/>
            <pc:sldMk cId="1859531097" sldId="2147476249"/>
            <ac:cxnSpMk id="122" creationId="{554EEB04-D48D-FB97-6E23-7804658CE7CB}"/>
          </ac:cxnSpMkLst>
        </pc:cxnChg>
        <pc:cxnChg chg="add del mod">
          <ac:chgData name="Iimura, Jinichi" userId="9e18df6b-b397-4f9f-a1c6-0abee7ae91a5" providerId="ADAL" clId="{8659CC36-693C-479B-B738-87E8E3013C2B}" dt="2025-06-30T03:07:14.437" v="1695" actId="1076"/>
          <ac:cxnSpMkLst>
            <pc:docMk/>
            <pc:sldMk cId="1859531097" sldId="2147476249"/>
            <ac:cxnSpMk id="125" creationId="{2C0CB89C-E691-1567-C913-125A3AEABF8F}"/>
          </ac:cxnSpMkLst>
        </pc:cxnChg>
        <pc:cxnChg chg="add del mod">
          <ac:chgData name="Iimura, Jinichi" userId="9e18df6b-b397-4f9f-a1c6-0abee7ae91a5" providerId="ADAL" clId="{8659CC36-693C-479B-B738-87E8E3013C2B}" dt="2025-06-30T06:24:10.380" v="2643" actId="14100"/>
          <ac:cxnSpMkLst>
            <pc:docMk/>
            <pc:sldMk cId="1859531097" sldId="2147476249"/>
            <ac:cxnSpMk id="126" creationId="{1F77B675-8655-F85D-F698-24A76806E3BE}"/>
          </ac:cxnSpMkLst>
        </pc:cxnChg>
        <pc:cxnChg chg="add del mod">
          <ac:chgData name="Iimura, Jinichi" userId="9e18df6b-b397-4f9f-a1c6-0abee7ae91a5" providerId="ADAL" clId="{8659CC36-693C-479B-B738-87E8E3013C2B}" dt="2025-06-30T03:07:14.437" v="1695" actId="1076"/>
          <ac:cxnSpMkLst>
            <pc:docMk/>
            <pc:sldMk cId="1859531097" sldId="2147476249"/>
            <ac:cxnSpMk id="137" creationId="{95DB5347-CC11-957B-7557-6CB618534B57}"/>
          </ac:cxnSpMkLst>
        </pc:cxnChg>
        <pc:cxnChg chg="add del mod">
          <ac:chgData name="Iimura, Jinichi" userId="9e18df6b-b397-4f9f-a1c6-0abee7ae91a5" providerId="ADAL" clId="{8659CC36-693C-479B-B738-87E8E3013C2B}" dt="2025-07-01T04:10:54.548" v="10508" actId="692"/>
          <ac:cxnSpMkLst>
            <pc:docMk/>
            <pc:sldMk cId="1859531097" sldId="2147476249"/>
            <ac:cxnSpMk id="140" creationId="{84781771-D72E-4E9B-6463-25F4E34ADDEF}"/>
          </ac:cxnSpMkLst>
        </pc:cxnChg>
        <pc:cxnChg chg="add mod">
          <ac:chgData name="Iimura, Jinichi" userId="9e18df6b-b397-4f9f-a1c6-0abee7ae91a5" providerId="ADAL" clId="{8659CC36-693C-479B-B738-87E8E3013C2B}" dt="2025-06-30T03:08:53.391" v="1714" actId="1076"/>
          <ac:cxnSpMkLst>
            <pc:docMk/>
            <pc:sldMk cId="1859531097" sldId="2147476249"/>
            <ac:cxnSpMk id="165" creationId="{C48535E0-19E6-2656-60DE-82E0A02CF4BC}"/>
          </ac:cxnSpMkLst>
        </pc:cxnChg>
        <pc:cxnChg chg="add mod">
          <ac:chgData name="Iimura, Jinichi" userId="9e18df6b-b397-4f9f-a1c6-0abee7ae91a5" providerId="ADAL" clId="{8659CC36-693C-479B-B738-87E8E3013C2B}" dt="2025-07-01T01:34:32.970" v="8799" actId="1076"/>
          <ac:cxnSpMkLst>
            <pc:docMk/>
            <pc:sldMk cId="1859531097" sldId="2147476249"/>
            <ac:cxnSpMk id="176" creationId="{B9E24C67-C634-8A30-6891-C495A6038CB4}"/>
          </ac:cxnSpMkLst>
        </pc:cxnChg>
        <pc:cxnChg chg="add mod">
          <ac:chgData name="Iimura, Jinichi" userId="9e18df6b-b397-4f9f-a1c6-0abee7ae91a5" providerId="ADAL" clId="{8659CC36-693C-479B-B738-87E8E3013C2B}" dt="2025-07-01T01:34:32.970" v="8799" actId="1076"/>
          <ac:cxnSpMkLst>
            <pc:docMk/>
            <pc:sldMk cId="1859531097" sldId="2147476249"/>
            <ac:cxnSpMk id="177" creationId="{9DBD09AC-3895-3E9B-855C-D37C4E040007}"/>
          </ac:cxnSpMkLst>
        </pc:cxnChg>
        <pc:cxnChg chg="add mod">
          <ac:chgData name="Iimura, Jinichi" userId="9e18df6b-b397-4f9f-a1c6-0abee7ae91a5" providerId="ADAL" clId="{8659CC36-693C-479B-B738-87E8E3013C2B}" dt="2025-07-01T01:34:32.970" v="8799" actId="1076"/>
          <ac:cxnSpMkLst>
            <pc:docMk/>
            <pc:sldMk cId="1859531097" sldId="2147476249"/>
            <ac:cxnSpMk id="180" creationId="{2ACCC00B-7E3A-F74A-E417-C4D54A5B84D4}"/>
          </ac:cxnSpMkLst>
        </pc:cxnChg>
        <pc:cxnChg chg="add mod">
          <ac:chgData name="Iimura, Jinichi" userId="9e18df6b-b397-4f9f-a1c6-0abee7ae91a5" providerId="ADAL" clId="{8659CC36-693C-479B-B738-87E8E3013C2B}" dt="2025-07-01T04:11:05.294" v="10509" actId="692"/>
          <ac:cxnSpMkLst>
            <pc:docMk/>
            <pc:sldMk cId="1859531097" sldId="2147476249"/>
            <ac:cxnSpMk id="181" creationId="{0EC59176-684A-326D-6FEC-DC82371914C6}"/>
          </ac:cxnSpMkLst>
        </pc:cxnChg>
        <pc:cxnChg chg="add mod">
          <ac:chgData name="Iimura, Jinichi" userId="9e18df6b-b397-4f9f-a1c6-0abee7ae91a5" providerId="ADAL" clId="{8659CC36-693C-479B-B738-87E8E3013C2B}" dt="2025-07-01T01:35:57.547" v="8927" actId="1076"/>
          <ac:cxnSpMkLst>
            <pc:docMk/>
            <pc:sldMk cId="1859531097" sldId="2147476249"/>
            <ac:cxnSpMk id="191" creationId="{D235A8C2-A922-3CB2-4C23-681D6A954D7B}"/>
          </ac:cxnSpMkLst>
        </pc:cxnChg>
        <pc:cxnChg chg="add del mod">
          <ac:chgData name="Iimura, Jinichi" userId="9e18df6b-b397-4f9f-a1c6-0abee7ae91a5" providerId="ADAL" clId="{8659CC36-693C-479B-B738-87E8E3013C2B}" dt="2025-07-01T01:31:59.031" v="8704" actId="478"/>
          <ac:cxnSpMkLst>
            <pc:docMk/>
            <pc:sldMk cId="1859531097" sldId="2147476249"/>
            <ac:cxnSpMk id="200" creationId="{6EE866C3-1C38-E56B-9E65-07AD40FD6B61}"/>
          </ac:cxnSpMkLst>
        </pc:cxnChg>
        <pc:cxnChg chg="add del mod">
          <ac:chgData name="Iimura, Jinichi" userId="9e18df6b-b397-4f9f-a1c6-0abee7ae91a5" providerId="ADAL" clId="{8659CC36-693C-479B-B738-87E8E3013C2B}" dt="2025-07-01T01:31:59.031" v="8704" actId="478"/>
          <ac:cxnSpMkLst>
            <pc:docMk/>
            <pc:sldMk cId="1859531097" sldId="2147476249"/>
            <ac:cxnSpMk id="209" creationId="{D0C93994-1CC7-D513-8F66-8CCD14E99270}"/>
          </ac:cxnSpMkLst>
        </pc:cxnChg>
        <pc:cxnChg chg="add del mod">
          <ac:chgData name="Iimura, Jinichi" userId="9e18df6b-b397-4f9f-a1c6-0abee7ae91a5" providerId="ADAL" clId="{8659CC36-693C-479B-B738-87E8E3013C2B}" dt="2025-07-01T01:31:59.031" v="8704" actId="478"/>
          <ac:cxnSpMkLst>
            <pc:docMk/>
            <pc:sldMk cId="1859531097" sldId="2147476249"/>
            <ac:cxnSpMk id="210" creationId="{94B0BC29-0F19-F0E7-E77F-4B8F0E7390D7}"/>
          </ac:cxnSpMkLst>
        </pc:cxnChg>
        <pc:cxnChg chg="add del mod">
          <ac:chgData name="Iimura, Jinichi" userId="9e18df6b-b397-4f9f-a1c6-0abee7ae91a5" providerId="ADAL" clId="{8659CC36-693C-479B-B738-87E8E3013C2B}" dt="2025-07-01T01:31:59.031" v="8704" actId="478"/>
          <ac:cxnSpMkLst>
            <pc:docMk/>
            <pc:sldMk cId="1859531097" sldId="2147476249"/>
            <ac:cxnSpMk id="212" creationId="{D79AE391-A60D-49AA-0C2B-95B57B280A48}"/>
          </ac:cxnSpMkLst>
        </pc:cxnChg>
        <pc:cxnChg chg="add mod">
          <ac:chgData name="Iimura, Jinichi" userId="9e18df6b-b397-4f9f-a1c6-0abee7ae91a5" providerId="ADAL" clId="{8659CC36-693C-479B-B738-87E8E3013C2B}" dt="2025-07-01T04:10:16.221" v="10507" actId="692"/>
          <ac:cxnSpMkLst>
            <pc:docMk/>
            <pc:sldMk cId="1859531097" sldId="2147476249"/>
            <ac:cxnSpMk id="213" creationId="{40D357F1-44D3-A0A7-8E5F-A45522C2D9A2}"/>
          </ac:cxnSpMkLst>
        </pc:cxnChg>
        <pc:cxnChg chg="add mod">
          <ac:chgData name="Iimura, Jinichi" userId="9e18df6b-b397-4f9f-a1c6-0abee7ae91a5" providerId="ADAL" clId="{8659CC36-693C-479B-B738-87E8E3013C2B}" dt="2025-06-30T03:21:11.781" v="1989" actId="14100"/>
          <ac:cxnSpMkLst>
            <pc:docMk/>
            <pc:sldMk cId="1859531097" sldId="2147476249"/>
            <ac:cxnSpMk id="216" creationId="{7A00BC8C-F0E6-5A26-4D22-52C9A9DC2656}"/>
          </ac:cxnSpMkLst>
        </pc:cxnChg>
      </pc:sldChg>
      <pc:sldChg chg="addSp delSp modSp mod">
        <pc:chgData name="Iimura, Jinichi" userId="9e18df6b-b397-4f9f-a1c6-0abee7ae91a5" providerId="ADAL" clId="{8659CC36-693C-479B-B738-87E8E3013C2B}" dt="2025-07-03T04:28:32.737" v="14703" actId="1076"/>
        <pc:sldMkLst>
          <pc:docMk/>
          <pc:sldMk cId="714483222" sldId="2147476251"/>
        </pc:sldMkLst>
        <pc:spChg chg="mod">
          <ac:chgData name="Iimura, Jinichi" userId="9e18df6b-b397-4f9f-a1c6-0abee7ae91a5" providerId="ADAL" clId="{8659CC36-693C-479B-B738-87E8E3013C2B}" dt="2025-06-30T01:38:17.560" v="937" actId="948"/>
          <ac:spMkLst>
            <pc:docMk/>
            <pc:sldMk cId="714483222" sldId="2147476251"/>
            <ac:spMk id="4" creationId="{C0CD4ED1-0F74-83B6-F4AC-8C87103B97BF}"/>
          </ac:spMkLst>
        </pc:spChg>
        <pc:spChg chg="add mod">
          <ac:chgData name="Iimura, Jinichi" userId="9e18df6b-b397-4f9f-a1c6-0abee7ae91a5" providerId="ADAL" clId="{8659CC36-693C-479B-B738-87E8E3013C2B}" dt="2025-07-03T04:28:32.737" v="14703" actId="1076"/>
          <ac:spMkLst>
            <pc:docMk/>
            <pc:sldMk cId="714483222" sldId="2147476251"/>
            <ac:spMk id="5" creationId="{CA9AD951-AB0A-F544-7224-4DC94CDD3179}"/>
          </ac:spMkLst>
        </pc:spChg>
        <pc:spChg chg="del">
          <ac:chgData name="Iimura, Jinichi" userId="9e18df6b-b397-4f9f-a1c6-0abee7ae91a5" providerId="ADAL" clId="{8659CC36-693C-479B-B738-87E8E3013C2B}" dt="2025-06-30T06:24:37.588" v="2645" actId="478"/>
          <ac:spMkLst>
            <pc:docMk/>
            <pc:sldMk cId="714483222" sldId="2147476251"/>
            <ac:spMk id="9" creationId="{7FAB7FED-86C0-349A-32E6-486F205BB8B9}"/>
          </ac:spMkLst>
        </pc:spChg>
        <pc:spChg chg="add del mod">
          <ac:chgData name="Iimura, Jinichi" userId="9e18df6b-b397-4f9f-a1c6-0abee7ae91a5" providerId="ADAL" clId="{8659CC36-693C-479B-B738-87E8E3013C2B}" dt="2025-06-30T07:44:58.808" v="4491" actId="478"/>
          <ac:spMkLst>
            <pc:docMk/>
            <pc:sldMk cId="714483222" sldId="2147476251"/>
            <ac:spMk id="10" creationId="{423A1C8C-B83A-63CA-940E-40B85F02D09E}"/>
          </ac:spMkLst>
        </pc:spChg>
        <pc:spChg chg="add del mod">
          <ac:chgData name="Iimura, Jinichi" userId="9e18df6b-b397-4f9f-a1c6-0abee7ae91a5" providerId="ADAL" clId="{8659CC36-693C-479B-B738-87E8E3013C2B}" dt="2025-06-30T23:43:53.841" v="7821" actId="478"/>
          <ac:spMkLst>
            <pc:docMk/>
            <pc:sldMk cId="714483222" sldId="2147476251"/>
            <ac:spMk id="11" creationId="{339958BC-1007-1BB7-18C2-5744037E3D73}"/>
          </ac:spMkLst>
        </pc:spChg>
        <pc:spChg chg="add mod">
          <ac:chgData name="Iimura, Jinichi" userId="9e18df6b-b397-4f9f-a1c6-0abee7ae91a5" providerId="ADAL" clId="{8659CC36-693C-479B-B738-87E8E3013C2B}" dt="2025-07-02T23:41:56.849" v="13992" actId="1076"/>
          <ac:spMkLst>
            <pc:docMk/>
            <pc:sldMk cId="714483222" sldId="2147476251"/>
            <ac:spMk id="12" creationId="{D887B3BB-0516-21F0-A43B-E49958BA6439}"/>
          </ac:spMkLst>
        </pc:spChg>
        <pc:spChg chg="add mod">
          <ac:chgData name="Iimura, Jinichi" userId="9e18df6b-b397-4f9f-a1c6-0abee7ae91a5" providerId="ADAL" clId="{8659CC36-693C-479B-B738-87E8E3013C2B}" dt="2025-07-02T23:41:56.849" v="13992" actId="1076"/>
          <ac:spMkLst>
            <pc:docMk/>
            <pc:sldMk cId="714483222" sldId="2147476251"/>
            <ac:spMk id="13" creationId="{98411CF8-7957-1DA7-507D-8963724BFDFC}"/>
          </ac:spMkLst>
        </pc:spChg>
        <pc:spChg chg="add mod">
          <ac:chgData name="Iimura, Jinichi" userId="9e18df6b-b397-4f9f-a1c6-0abee7ae91a5" providerId="ADAL" clId="{8659CC36-693C-479B-B738-87E8E3013C2B}" dt="2025-07-02T23:41:56.849" v="13992" actId="1076"/>
          <ac:spMkLst>
            <pc:docMk/>
            <pc:sldMk cId="714483222" sldId="2147476251"/>
            <ac:spMk id="14" creationId="{97031C94-F35D-9884-1E15-65AB6E2D96E2}"/>
          </ac:spMkLst>
        </pc:spChg>
        <pc:spChg chg="add mod">
          <ac:chgData name="Iimura, Jinichi" userId="9e18df6b-b397-4f9f-a1c6-0abee7ae91a5" providerId="ADAL" clId="{8659CC36-693C-479B-B738-87E8E3013C2B}" dt="2025-07-02T23:41:56.849" v="13992" actId="1076"/>
          <ac:spMkLst>
            <pc:docMk/>
            <pc:sldMk cId="714483222" sldId="2147476251"/>
            <ac:spMk id="15" creationId="{D043DB06-DDA6-5B1D-907B-272BC84915FE}"/>
          </ac:spMkLst>
        </pc:spChg>
        <pc:spChg chg="add">
          <ac:chgData name="Iimura, Jinichi" userId="9e18df6b-b397-4f9f-a1c6-0abee7ae91a5" providerId="ADAL" clId="{8659CC36-693C-479B-B738-87E8E3013C2B}" dt="2025-07-02T23:47:37.064" v="14130"/>
          <ac:spMkLst>
            <pc:docMk/>
            <pc:sldMk cId="714483222" sldId="2147476251"/>
            <ac:spMk id="18" creationId="{6C92E0BD-EA29-6E77-6DFC-B20BD710BFEF}"/>
          </ac:spMkLst>
        </pc:spChg>
        <pc:spChg chg="add">
          <ac:chgData name="Iimura, Jinichi" userId="9e18df6b-b397-4f9f-a1c6-0abee7ae91a5" providerId="ADAL" clId="{8659CC36-693C-479B-B738-87E8E3013C2B}" dt="2025-07-02T23:47:41.232" v="14131"/>
          <ac:spMkLst>
            <pc:docMk/>
            <pc:sldMk cId="714483222" sldId="2147476251"/>
            <ac:spMk id="19" creationId="{1E82BCF2-16F8-7372-5111-C18D58981767}"/>
          </ac:spMkLst>
        </pc:spChg>
        <pc:spChg chg="del">
          <ac:chgData name="Iimura, Jinichi" userId="9e18df6b-b397-4f9f-a1c6-0abee7ae91a5" providerId="ADAL" clId="{8659CC36-693C-479B-B738-87E8E3013C2B}" dt="2025-06-30T06:29:16.639" v="2734" actId="478"/>
          <ac:spMkLst>
            <pc:docMk/>
            <pc:sldMk cId="714483222" sldId="2147476251"/>
            <ac:spMk id="66" creationId="{8A339021-7014-D902-DAE4-712C3FA18771}"/>
          </ac:spMkLst>
        </pc:spChg>
        <pc:graphicFrameChg chg="del mod modGraphic">
          <ac:chgData name="Iimura, Jinichi" userId="9e18df6b-b397-4f9f-a1c6-0abee7ae91a5" providerId="ADAL" clId="{8659CC36-693C-479B-B738-87E8E3013C2B}" dt="2025-07-02T23:40:06.364" v="13750" actId="478"/>
          <ac:graphicFrameMkLst>
            <pc:docMk/>
            <pc:sldMk cId="714483222" sldId="2147476251"/>
            <ac:graphicFrameMk id="3" creationId="{A4E43284-57D5-B177-675E-BBDFD96678C7}"/>
          </ac:graphicFrameMkLst>
        </pc:graphicFrameChg>
        <pc:graphicFrameChg chg="add mod">
          <ac:chgData name="Iimura, Jinichi" userId="9e18df6b-b397-4f9f-a1c6-0abee7ae91a5" providerId="ADAL" clId="{8659CC36-693C-479B-B738-87E8E3013C2B}" dt="2025-06-30T07:38:17.183" v="4038"/>
          <ac:graphicFrameMkLst>
            <pc:docMk/>
            <pc:sldMk cId="714483222" sldId="2147476251"/>
            <ac:graphicFrameMk id="6" creationId="{861F7504-E933-D3A8-9E92-8F4A8940AB85}"/>
          </ac:graphicFrameMkLst>
        </pc:graphicFrameChg>
        <pc:graphicFrameChg chg="mod">
          <ac:chgData name="Iimura, Jinichi" userId="9e18df6b-b397-4f9f-a1c6-0abee7ae91a5" providerId="ADAL" clId="{8659CC36-693C-479B-B738-87E8E3013C2B}" dt="2025-06-30T01:38:17.575" v="939"/>
          <ac:graphicFrameMkLst>
            <pc:docMk/>
            <pc:sldMk cId="714483222" sldId="2147476251"/>
            <ac:graphicFrameMk id="7" creationId="{2A84D1DA-97ED-2719-33EF-A13650BDF72A}"/>
          </ac:graphicFrameMkLst>
        </pc:graphicFrameChg>
        <pc:graphicFrameChg chg="add del mod modGraphic">
          <ac:chgData name="Iimura, Jinichi" userId="9e18df6b-b397-4f9f-a1c6-0abee7ae91a5" providerId="ADAL" clId="{8659CC36-693C-479B-B738-87E8E3013C2B}" dt="2025-06-30T23:43:24.186" v="7815" actId="478"/>
          <ac:graphicFrameMkLst>
            <pc:docMk/>
            <pc:sldMk cId="714483222" sldId="2147476251"/>
            <ac:graphicFrameMk id="8" creationId="{134B60C9-68E8-95D9-53CC-71A6CB0942B0}"/>
          </ac:graphicFrameMkLst>
        </pc:graphicFrameChg>
        <pc:picChg chg="add del mod">
          <ac:chgData name="Iimura, Jinichi" userId="9e18df6b-b397-4f9f-a1c6-0abee7ae91a5" providerId="ADAL" clId="{8659CC36-693C-479B-B738-87E8E3013C2B}" dt="2025-06-30T23:51:06.023" v="8269" actId="478"/>
          <ac:picMkLst>
            <pc:docMk/>
            <pc:sldMk cId="714483222" sldId="2147476251"/>
            <ac:picMk id="17" creationId="{6067B375-9D6F-56A2-050C-D509D1A8B4E7}"/>
          </ac:picMkLst>
        </pc:picChg>
      </pc:sldChg>
      <pc:sldChg chg="addSp delSp modSp mod">
        <pc:chgData name="Iimura, Jinichi" userId="9e18df6b-b397-4f9f-a1c6-0abee7ae91a5" providerId="ADAL" clId="{8659CC36-693C-479B-B738-87E8E3013C2B}" dt="2025-07-02T07:29:30.417" v="12042" actId="478"/>
        <pc:sldMkLst>
          <pc:docMk/>
          <pc:sldMk cId="3924730848" sldId="2147476252"/>
        </pc:sldMkLst>
        <pc:spChg chg="mod">
          <ac:chgData name="Iimura, Jinichi" userId="9e18df6b-b397-4f9f-a1c6-0abee7ae91a5" providerId="ADAL" clId="{8659CC36-693C-479B-B738-87E8E3013C2B}" dt="2025-06-30T01:56:07.432" v="1152" actId="948"/>
          <ac:spMkLst>
            <pc:docMk/>
            <pc:sldMk cId="3924730848" sldId="2147476252"/>
            <ac:spMk id="4" creationId="{20240A8E-9B73-AE5A-5D61-C7E42CFDAB6C}"/>
          </ac:spMkLst>
        </pc:spChg>
        <pc:spChg chg="del">
          <ac:chgData name="Iimura, Jinichi" userId="9e18df6b-b397-4f9f-a1c6-0abee7ae91a5" providerId="ADAL" clId="{8659CC36-693C-479B-B738-87E8E3013C2B}" dt="2025-07-02T07:29:30.417" v="12042" actId="478"/>
          <ac:spMkLst>
            <pc:docMk/>
            <pc:sldMk cId="3924730848" sldId="2147476252"/>
            <ac:spMk id="5" creationId="{B99A84EC-AF64-DC0F-EFD5-105E9587412B}"/>
          </ac:spMkLst>
        </pc:spChg>
        <pc:spChg chg="add del mod modVis">
          <ac:chgData name="Iimura, Jinichi" userId="9e18df6b-b397-4f9f-a1c6-0abee7ae91a5" providerId="ADAL" clId="{8659CC36-693C-479B-B738-87E8E3013C2B}" dt="2025-06-30T01:56:06.611" v="1135"/>
          <ac:spMkLst>
            <pc:docMk/>
            <pc:sldMk cId="3924730848" sldId="2147476252"/>
            <ac:spMk id="6" creationId="{8E42B995-3C13-C17D-8B7B-DB08730B7783}"/>
          </ac:spMkLst>
        </pc:spChg>
        <pc:spChg chg="add del mod modVis">
          <ac:chgData name="Iimura, Jinichi" userId="9e18df6b-b397-4f9f-a1c6-0abee7ae91a5" providerId="ADAL" clId="{8659CC36-693C-479B-B738-87E8E3013C2B}" dt="2025-06-30T01:56:07.474" v="1173"/>
          <ac:spMkLst>
            <pc:docMk/>
            <pc:sldMk cId="3924730848" sldId="2147476252"/>
            <ac:spMk id="8" creationId="{88937B62-3896-D41E-99E4-734C61D39917}"/>
          </ac:spMkLst>
        </pc:spChg>
        <pc:graphicFrameChg chg="add mod ord modVis replST">
          <ac:chgData name="Iimura, Jinichi" userId="9e18df6b-b397-4f9f-a1c6-0abee7ae91a5" providerId="ADAL" clId="{8659CC36-693C-479B-B738-87E8E3013C2B}" dt="2025-06-30T01:56:07.476" v="1175"/>
          <ac:graphicFrameMkLst>
            <pc:docMk/>
            <pc:sldMk cId="3924730848" sldId="2147476252"/>
            <ac:graphicFrameMk id="7" creationId="{BC1151C2-D06C-D2FC-4C58-330B81DBB6E6}"/>
          </ac:graphicFrameMkLst>
        </pc:graphicFrameChg>
      </pc:sldChg>
      <pc:sldChg chg="delSp modSp mod">
        <pc:chgData name="Iimura, Jinichi" userId="9e18df6b-b397-4f9f-a1c6-0abee7ae91a5" providerId="ADAL" clId="{8659CC36-693C-479B-B738-87E8E3013C2B}" dt="2025-07-02T07:29:33.029" v="12043" actId="478"/>
        <pc:sldMkLst>
          <pc:docMk/>
          <pc:sldMk cId="332745846" sldId="2147476253"/>
        </pc:sldMkLst>
        <pc:spChg chg="mod">
          <ac:chgData name="Iimura, Jinichi" userId="9e18df6b-b397-4f9f-a1c6-0abee7ae91a5" providerId="ADAL" clId="{8659CC36-693C-479B-B738-87E8E3013C2B}" dt="2025-07-01T03:54:11.547" v="10068" actId="207"/>
          <ac:spMkLst>
            <pc:docMk/>
            <pc:sldMk cId="332745846" sldId="2147476253"/>
            <ac:spMk id="3" creationId="{1E34451F-92DA-79B3-D1F0-D2B52A45005B}"/>
          </ac:spMkLst>
        </pc:spChg>
        <pc:spChg chg="del">
          <ac:chgData name="Iimura, Jinichi" userId="9e18df6b-b397-4f9f-a1c6-0abee7ae91a5" providerId="ADAL" clId="{8659CC36-693C-479B-B738-87E8E3013C2B}" dt="2025-07-02T07:29:33.029" v="12043" actId="478"/>
          <ac:spMkLst>
            <pc:docMk/>
            <pc:sldMk cId="332745846" sldId="2147476253"/>
            <ac:spMk id="7" creationId="{38372D03-F86A-E667-11DE-849E304A9E2F}"/>
          </ac:spMkLst>
        </pc:spChg>
        <pc:spChg chg="del">
          <ac:chgData name="Iimura, Jinichi" userId="9e18df6b-b397-4f9f-a1c6-0abee7ae91a5" providerId="ADAL" clId="{8659CC36-693C-479B-B738-87E8E3013C2B}" dt="2025-07-01T03:54:27.288" v="10071" actId="478"/>
          <ac:spMkLst>
            <pc:docMk/>
            <pc:sldMk cId="332745846" sldId="2147476253"/>
            <ac:spMk id="8" creationId="{8CF970CC-1588-1243-3975-78EFC825FCDC}"/>
          </ac:spMkLst>
        </pc:spChg>
      </pc:sldChg>
      <pc:sldChg chg="delSp modSp mod">
        <pc:chgData name="Iimura, Jinichi" userId="9e18df6b-b397-4f9f-a1c6-0abee7ae91a5" providerId="ADAL" clId="{8659CC36-693C-479B-B738-87E8E3013C2B}" dt="2025-07-02T23:53:05.047" v="14155" actId="20577"/>
        <pc:sldMkLst>
          <pc:docMk/>
          <pc:sldMk cId="2275528936" sldId="2147476254"/>
        </pc:sldMkLst>
        <pc:spChg chg="mod">
          <ac:chgData name="Iimura, Jinichi" userId="9e18df6b-b397-4f9f-a1c6-0abee7ae91a5" providerId="ADAL" clId="{8659CC36-693C-479B-B738-87E8E3013C2B}" dt="2025-07-02T23:53:05.047" v="14155" actId="20577"/>
          <ac:spMkLst>
            <pc:docMk/>
            <pc:sldMk cId="2275528936" sldId="2147476254"/>
            <ac:spMk id="3" creationId="{1E34451F-92DA-79B3-D1F0-D2B52A45005B}"/>
          </ac:spMkLst>
        </pc:spChg>
        <pc:spChg chg="del">
          <ac:chgData name="Iimura, Jinichi" userId="9e18df6b-b397-4f9f-a1c6-0abee7ae91a5" providerId="ADAL" clId="{8659CC36-693C-479B-B738-87E8E3013C2B}" dt="2025-07-01T03:54:25.196" v="10070" actId="478"/>
          <ac:spMkLst>
            <pc:docMk/>
            <pc:sldMk cId="2275528936" sldId="2147476254"/>
            <ac:spMk id="5" creationId="{BCE467EB-77FB-7905-8E4B-6A2B9D954DBC}"/>
          </ac:spMkLst>
        </pc:spChg>
      </pc:sldChg>
      <pc:sldChg chg="addSp delSp modSp mod">
        <pc:chgData name="Iimura, Jinichi" userId="9e18df6b-b397-4f9f-a1c6-0abee7ae91a5" providerId="ADAL" clId="{8659CC36-693C-479B-B738-87E8E3013C2B}" dt="2025-07-03T04:50:47.450" v="14744" actId="6549"/>
        <pc:sldMkLst>
          <pc:docMk/>
          <pc:sldMk cId="3355206452" sldId="2147476255"/>
        </pc:sldMkLst>
        <pc:spChg chg="mod">
          <ac:chgData name="Iimura, Jinichi" userId="9e18df6b-b397-4f9f-a1c6-0abee7ae91a5" providerId="ADAL" clId="{8659CC36-693C-479B-B738-87E8E3013C2B}" dt="2025-07-03T04:50:47.450" v="14744" actId="6549"/>
          <ac:spMkLst>
            <pc:docMk/>
            <pc:sldMk cId="3355206452" sldId="2147476255"/>
            <ac:spMk id="3" creationId="{1E34451F-92DA-79B3-D1F0-D2B52A45005B}"/>
          </ac:spMkLst>
        </pc:spChg>
        <pc:spChg chg="del">
          <ac:chgData name="Iimura, Jinichi" userId="9e18df6b-b397-4f9f-a1c6-0abee7ae91a5" providerId="ADAL" clId="{8659CC36-693C-479B-B738-87E8E3013C2B}" dt="2025-07-02T07:29:37.813" v="12044" actId="478"/>
          <ac:spMkLst>
            <pc:docMk/>
            <pc:sldMk cId="3355206452" sldId="2147476255"/>
            <ac:spMk id="5" creationId="{861ADFFC-29C2-876F-D738-3757590B0764}"/>
          </ac:spMkLst>
        </pc:spChg>
        <pc:spChg chg="add del mod">
          <ac:chgData name="Iimura, Jinichi" userId="9e18df6b-b397-4f9f-a1c6-0abee7ae91a5" providerId="ADAL" clId="{8659CC36-693C-479B-B738-87E8E3013C2B}" dt="2025-07-01T04:56:51.034" v="10712" actId="478"/>
          <ac:spMkLst>
            <pc:docMk/>
            <pc:sldMk cId="3355206452" sldId="2147476255"/>
            <ac:spMk id="6" creationId="{7BE3F45B-5A8B-4D80-0363-0CAA1370A810}"/>
          </ac:spMkLst>
        </pc:spChg>
      </pc:sldChg>
      <pc:sldChg chg="addSp delSp modSp add mod">
        <pc:chgData name="Iimura, Jinichi" userId="9e18df6b-b397-4f9f-a1c6-0abee7ae91a5" providerId="ADAL" clId="{8659CC36-693C-479B-B738-87E8E3013C2B}" dt="2025-07-02T13:51:09.149" v="13713" actId="20577"/>
        <pc:sldMkLst>
          <pc:docMk/>
          <pc:sldMk cId="3207057081" sldId="2147476256"/>
        </pc:sldMkLst>
        <pc:spChg chg="add mod">
          <ac:chgData name="Iimura, Jinichi" userId="9e18df6b-b397-4f9f-a1c6-0abee7ae91a5" providerId="ADAL" clId="{8659CC36-693C-479B-B738-87E8E3013C2B}" dt="2025-06-30T00:07:43.672" v="27"/>
          <ac:spMkLst>
            <pc:docMk/>
            <pc:sldMk cId="3207057081" sldId="2147476256"/>
            <ac:spMk id="3" creationId="{CD442F0D-59D1-A0BD-A9E8-A24EFE23E8DF}"/>
          </ac:spMkLst>
        </pc:spChg>
        <pc:spChg chg="mod">
          <ac:chgData name="Iimura, Jinichi" userId="9e18df6b-b397-4f9f-a1c6-0abee7ae91a5" providerId="ADAL" clId="{8659CC36-693C-479B-B738-87E8E3013C2B}" dt="2025-06-30T00:07:08.223" v="23" actId="948"/>
          <ac:spMkLst>
            <pc:docMk/>
            <pc:sldMk cId="3207057081" sldId="2147476256"/>
            <ac:spMk id="4" creationId="{599FFCD3-4840-7D8A-EC3F-3642D5887971}"/>
          </ac:spMkLst>
        </pc:spChg>
        <pc:spChg chg="mod">
          <ac:chgData name="Iimura, Jinichi" userId="9e18df6b-b397-4f9f-a1c6-0abee7ae91a5" providerId="ADAL" clId="{8659CC36-693C-479B-B738-87E8E3013C2B}" dt="2025-07-02T13:51:09.149" v="13713" actId="20577"/>
          <ac:spMkLst>
            <pc:docMk/>
            <pc:sldMk cId="3207057081" sldId="2147476256"/>
            <ac:spMk id="10" creationId="{63BB9C2C-DCF6-C3B2-75F2-A145BE2371C9}"/>
          </ac:spMkLst>
        </pc:spChg>
        <pc:graphicFrameChg chg="mod">
          <ac:chgData name="Iimura, Jinichi" userId="9e18df6b-b397-4f9f-a1c6-0abee7ae91a5" providerId="ADAL" clId="{8659CC36-693C-479B-B738-87E8E3013C2B}" dt="2025-06-30T00:07:08.223" v="25"/>
          <ac:graphicFrameMkLst>
            <pc:docMk/>
            <pc:sldMk cId="3207057081" sldId="2147476256"/>
            <ac:graphicFrameMk id="6" creationId="{1CF1F410-5184-899E-B5E0-8F3C15E8CB80}"/>
          </ac:graphicFrameMkLst>
        </pc:graphicFrameChg>
        <pc:graphicFrameChg chg="del">
          <ac:chgData name="Iimura, Jinichi" userId="9e18df6b-b397-4f9f-a1c6-0abee7ae91a5" providerId="ADAL" clId="{8659CC36-693C-479B-B738-87E8E3013C2B}" dt="2025-06-30T00:07:05.335" v="14" actId="478"/>
          <ac:graphicFrameMkLst>
            <pc:docMk/>
            <pc:sldMk cId="3207057081" sldId="2147476256"/>
            <ac:graphicFrameMk id="9" creationId="{4489B312-54C6-AE32-AC61-F70E865CA9E9}"/>
          </ac:graphicFrameMkLst>
        </pc:graphicFrameChg>
      </pc:sldChg>
      <pc:sldChg chg="modSp add mod">
        <pc:chgData name="Iimura, Jinichi" userId="9e18df6b-b397-4f9f-a1c6-0abee7ae91a5" providerId="ADAL" clId="{8659CC36-693C-479B-B738-87E8E3013C2B}" dt="2025-06-30T01:02:51.277" v="348" actId="14100"/>
        <pc:sldMkLst>
          <pc:docMk/>
          <pc:sldMk cId="675257603" sldId="2147476257"/>
        </pc:sldMkLst>
        <pc:spChg chg="mod">
          <ac:chgData name="Iimura, Jinichi" userId="9e18df6b-b397-4f9f-a1c6-0abee7ae91a5" providerId="ADAL" clId="{8659CC36-693C-479B-B738-87E8E3013C2B}" dt="2025-06-30T01:02:51.277" v="348" actId="14100"/>
          <ac:spMkLst>
            <pc:docMk/>
            <pc:sldMk cId="675257603" sldId="2147476257"/>
            <ac:spMk id="10" creationId="{F93019CF-631D-87D2-E069-B43952A2632F}"/>
          </ac:spMkLst>
        </pc:spChg>
      </pc:sldChg>
      <pc:sldChg chg="modSp add mod">
        <pc:chgData name="Iimura, Jinichi" userId="9e18df6b-b397-4f9f-a1c6-0abee7ae91a5" providerId="ADAL" clId="{8659CC36-693C-479B-B738-87E8E3013C2B}" dt="2025-06-30T10:30:34.362" v="7370" actId="14100"/>
        <pc:sldMkLst>
          <pc:docMk/>
          <pc:sldMk cId="101618977" sldId="2147476258"/>
        </pc:sldMkLst>
        <pc:spChg chg="mod">
          <ac:chgData name="Iimura, Jinichi" userId="9e18df6b-b397-4f9f-a1c6-0abee7ae91a5" providerId="ADAL" clId="{8659CC36-693C-479B-B738-87E8E3013C2B}" dt="2025-06-30T10:30:34.362" v="7370" actId="14100"/>
          <ac:spMkLst>
            <pc:docMk/>
            <pc:sldMk cId="101618977" sldId="2147476258"/>
            <ac:spMk id="3" creationId="{AD04AFEF-C73B-87E0-C3D3-C42C2F3ACF7F}"/>
          </ac:spMkLst>
        </pc:spChg>
      </pc:sldChg>
      <pc:sldChg chg="add">
        <pc:chgData name="Iimura, Jinichi" userId="9e18df6b-b397-4f9f-a1c6-0abee7ae91a5" providerId="ADAL" clId="{8659CC36-693C-479B-B738-87E8E3013C2B}" dt="2025-06-30T00:32:44.561" v="156"/>
        <pc:sldMkLst>
          <pc:docMk/>
          <pc:sldMk cId="2667598407" sldId="2147476259"/>
        </pc:sldMkLst>
      </pc:sldChg>
      <pc:sldChg chg="add">
        <pc:chgData name="Iimura, Jinichi" userId="9e18df6b-b397-4f9f-a1c6-0abee7ae91a5" providerId="ADAL" clId="{8659CC36-693C-479B-B738-87E8E3013C2B}" dt="2025-06-30T00:32:44.561" v="156"/>
        <pc:sldMkLst>
          <pc:docMk/>
          <pc:sldMk cId="2836140363" sldId="2147476260"/>
        </pc:sldMkLst>
      </pc:sldChg>
      <pc:sldChg chg="addSp modSp add mod">
        <pc:chgData name="Iimura, Jinichi" userId="9e18df6b-b397-4f9f-a1c6-0abee7ae91a5" providerId="ADAL" clId="{8659CC36-693C-479B-B738-87E8E3013C2B}" dt="2025-06-30T03:32:04.730" v="2105" actId="1035"/>
        <pc:sldMkLst>
          <pc:docMk/>
          <pc:sldMk cId="3293536473" sldId="2147476261"/>
        </pc:sldMkLst>
        <pc:spChg chg="add mod">
          <ac:chgData name="Iimura, Jinichi" userId="9e18df6b-b397-4f9f-a1c6-0abee7ae91a5" providerId="ADAL" clId="{8659CC36-693C-479B-B738-87E8E3013C2B}" dt="2025-06-30T03:32:04.730" v="2105" actId="1035"/>
          <ac:spMkLst>
            <pc:docMk/>
            <pc:sldMk cId="3293536473" sldId="2147476261"/>
            <ac:spMk id="11" creationId="{015BAA57-CED1-EF41-47E1-E493720FBB69}"/>
          </ac:spMkLst>
        </pc:spChg>
      </pc:sldChg>
      <pc:sldChg chg="add">
        <pc:chgData name="Iimura, Jinichi" userId="9e18df6b-b397-4f9f-a1c6-0abee7ae91a5" providerId="ADAL" clId="{8659CC36-693C-479B-B738-87E8E3013C2B}" dt="2025-06-30T00:32:44.561" v="156"/>
        <pc:sldMkLst>
          <pc:docMk/>
          <pc:sldMk cId="3971923513" sldId="2147476262"/>
        </pc:sldMkLst>
      </pc:sldChg>
      <pc:sldChg chg="addSp modSp add">
        <pc:chgData name="Iimura, Jinichi" userId="9e18df6b-b397-4f9f-a1c6-0abee7ae91a5" providerId="ADAL" clId="{8659CC36-693C-479B-B738-87E8E3013C2B}" dt="2025-06-30T03:32:08.106" v="2106"/>
        <pc:sldMkLst>
          <pc:docMk/>
          <pc:sldMk cId="3497228410" sldId="2147476263"/>
        </pc:sldMkLst>
        <pc:spChg chg="add mod">
          <ac:chgData name="Iimura, Jinichi" userId="9e18df6b-b397-4f9f-a1c6-0abee7ae91a5" providerId="ADAL" clId="{8659CC36-693C-479B-B738-87E8E3013C2B}" dt="2025-06-30T03:32:08.106" v="2106"/>
          <ac:spMkLst>
            <pc:docMk/>
            <pc:sldMk cId="3497228410" sldId="2147476263"/>
            <ac:spMk id="8" creationId="{EC202678-AD5C-8C01-EC24-084B7FC2B6A9}"/>
          </ac:spMkLst>
        </pc:spChg>
      </pc:sldChg>
      <pc:sldChg chg="addSp modSp add">
        <pc:chgData name="Iimura, Jinichi" userId="9e18df6b-b397-4f9f-a1c6-0abee7ae91a5" providerId="ADAL" clId="{8659CC36-693C-479B-B738-87E8E3013C2B}" dt="2025-06-30T03:32:10.355" v="2107"/>
        <pc:sldMkLst>
          <pc:docMk/>
          <pc:sldMk cId="3687552412" sldId="2147476264"/>
        </pc:sldMkLst>
        <pc:spChg chg="add mod">
          <ac:chgData name="Iimura, Jinichi" userId="9e18df6b-b397-4f9f-a1c6-0abee7ae91a5" providerId="ADAL" clId="{8659CC36-693C-479B-B738-87E8E3013C2B}" dt="2025-06-30T03:32:10.355" v="2107"/>
          <ac:spMkLst>
            <pc:docMk/>
            <pc:sldMk cId="3687552412" sldId="2147476264"/>
            <ac:spMk id="20" creationId="{18F30CC6-33B0-33D8-F411-900F98FE8C36}"/>
          </ac:spMkLst>
        </pc:spChg>
      </pc:sldChg>
      <pc:sldChg chg="addSp modSp add">
        <pc:chgData name="Iimura, Jinichi" userId="9e18df6b-b397-4f9f-a1c6-0abee7ae91a5" providerId="ADAL" clId="{8659CC36-693C-479B-B738-87E8E3013C2B}" dt="2025-06-30T03:32:12.006" v="2108"/>
        <pc:sldMkLst>
          <pc:docMk/>
          <pc:sldMk cId="1642234751" sldId="2147476265"/>
        </pc:sldMkLst>
        <pc:spChg chg="add mod">
          <ac:chgData name="Iimura, Jinichi" userId="9e18df6b-b397-4f9f-a1c6-0abee7ae91a5" providerId="ADAL" clId="{8659CC36-693C-479B-B738-87E8E3013C2B}" dt="2025-06-30T03:32:12.006" v="2108"/>
          <ac:spMkLst>
            <pc:docMk/>
            <pc:sldMk cId="1642234751" sldId="2147476265"/>
            <ac:spMk id="11" creationId="{108747B1-4FAE-98AA-5AF5-071958A8A583}"/>
          </ac:spMkLst>
        </pc:spChg>
      </pc:sldChg>
      <pc:sldChg chg="addSp modSp add">
        <pc:chgData name="Iimura, Jinichi" userId="9e18df6b-b397-4f9f-a1c6-0abee7ae91a5" providerId="ADAL" clId="{8659CC36-693C-479B-B738-87E8E3013C2B}" dt="2025-06-30T03:32:13.663" v="2109"/>
        <pc:sldMkLst>
          <pc:docMk/>
          <pc:sldMk cId="3734469208" sldId="2147476266"/>
        </pc:sldMkLst>
        <pc:spChg chg="add mod">
          <ac:chgData name="Iimura, Jinichi" userId="9e18df6b-b397-4f9f-a1c6-0abee7ae91a5" providerId="ADAL" clId="{8659CC36-693C-479B-B738-87E8E3013C2B}" dt="2025-06-30T03:32:13.663" v="2109"/>
          <ac:spMkLst>
            <pc:docMk/>
            <pc:sldMk cId="3734469208" sldId="2147476266"/>
            <ac:spMk id="12" creationId="{C433487A-98FA-8D80-D088-BB0D48518FA1}"/>
          </ac:spMkLst>
        </pc:spChg>
      </pc:sldChg>
      <pc:sldChg chg="addSp modSp add">
        <pc:chgData name="Iimura, Jinichi" userId="9e18df6b-b397-4f9f-a1c6-0abee7ae91a5" providerId="ADAL" clId="{8659CC36-693C-479B-B738-87E8E3013C2B}" dt="2025-06-30T03:32:17.249" v="2110"/>
        <pc:sldMkLst>
          <pc:docMk/>
          <pc:sldMk cId="2641857341" sldId="2147476267"/>
        </pc:sldMkLst>
        <pc:spChg chg="add mod">
          <ac:chgData name="Iimura, Jinichi" userId="9e18df6b-b397-4f9f-a1c6-0abee7ae91a5" providerId="ADAL" clId="{8659CC36-693C-479B-B738-87E8E3013C2B}" dt="2025-06-30T03:32:17.249" v="2110"/>
          <ac:spMkLst>
            <pc:docMk/>
            <pc:sldMk cId="2641857341" sldId="2147476267"/>
            <ac:spMk id="23" creationId="{A2F64AD6-7106-0DD5-2074-D39889216754}"/>
          </ac:spMkLst>
        </pc:spChg>
      </pc:sldChg>
      <pc:sldChg chg="addSp modSp add">
        <pc:chgData name="Iimura, Jinichi" userId="9e18df6b-b397-4f9f-a1c6-0abee7ae91a5" providerId="ADAL" clId="{8659CC36-693C-479B-B738-87E8E3013C2B}" dt="2025-06-30T03:32:18.346" v="2111"/>
        <pc:sldMkLst>
          <pc:docMk/>
          <pc:sldMk cId="784019195" sldId="2147476268"/>
        </pc:sldMkLst>
        <pc:spChg chg="add mod">
          <ac:chgData name="Iimura, Jinichi" userId="9e18df6b-b397-4f9f-a1c6-0abee7ae91a5" providerId="ADAL" clId="{8659CC36-693C-479B-B738-87E8E3013C2B}" dt="2025-06-30T03:32:18.346" v="2111"/>
          <ac:spMkLst>
            <pc:docMk/>
            <pc:sldMk cId="784019195" sldId="2147476268"/>
            <ac:spMk id="7" creationId="{355E7803-6E65-95FE-C105-1C1D62C1FA09}"/>
          </ac:spMkLst>
        </pc:spChg>
      </pc:sldChg>
      <pc:sldChg chg="modSp add mod">
        <pc:chgData name="Iimura, Jinichi" userId="9e18df6b-b397-4f9f-a1c6-0abee7ae91a5" providerId="ADAL" clId="{8659CC36-693C-479B-B738-87E8E3013C2B}" dt="2025-06-30T00:41:00.922" v="285"/>
        <pc:sldMkLst>
          <pc:docMk/>
          <pc:sldMk cId="1362544405" sldId="2147476269"/>
        </pc:sldMkLst>
        <pc:spChg chg="mod">
          <ac:chgData name="Iimura, Jinichi" userId="9e18df6b-b397-4f9f-a1c6-0abee7ae91a5" providerId="ADAL" clId="{8659CC36-693C-479B-B738-87E8E3013C2B}" dt="2025-06-30T00:41:00.922" v="283" actId="948"/>
          <ac:spMkLst>
            <pc:docMk/>
            <pc:sldMk cId="1362544405" sldId="2147476269"/>
            <ac:spMk id="4" creationId="{599FFCD3-4840-7D8A-EC3F-3642D5887971}"/>
          </ac:spMkLst>
        </pc:spChg>
        <pc:graphicFrameChg chg="mod">
          <ac:chgData name="Iimura, Jinichi" userId="9e18df6b-b397-4f9f-a1c6-0abee7ae91a5" providerId="ADAL" clId="{8659CC36-693C-479B-B738-87E8E3013C2B}" dt="2025-06-30T00:41:00.922" v="285"/>
          <ac:graphicFrameMkLst>
            <pc:docMk/>
            <pc:sldMk cId="1362544405" sldId="2147476269"/>
            <ac:graphicFrameMk id="6" creationId="{1CF1F410-5184-899E-B5E0-8F3C15E8CB80}"/>
          </ac:graphicFrameMkLst>
        </pc:graphicFrameChg>
      </pc:sldChg>
      <pc:sldChg chg="addSp delSp modSp add mod">
        <pc:chgData name="Iimura, Jinichi" userId="9e18df6b-b397-4f9f-a1c6-0abee7ae91a5" providerId="ADAL" clId="{8659CC36-693C-479B-B738-87E8E3013C2B}" dt="2025-07-02T23:51:43.046" v="14139"/>
        <pc:sldMkLst>
          <pc:docMk/>
          <pc:sldMk cId="3417380775" sldId="2147476270"/>
        </pc:sldMkLst>
        <pc:spChg chg="mod">
          <ac:chgData name="Iimura, Jinichi" userId="9e18df6b-b397-4f9f-a1c6-0abee7ae91a5" providerId="ADAL" clId="{8659CC36-693C-479B-B738-87E8E3013C2B}" dt="2025-06-30T01:37:48.282" v="897" actId="948"/>
          <ac:spMkLst>
            <pc:docMk/>
            <pc:sldMk cId="3417380775" sldId="2147476270"/>
            <ac:spMk id="4" creationId="{C0CD4ED1-0F74-83B6-F4AC-8C87103B97BF}"/>
          </ac:spMkLst>
        </pc:spChg>
        <pc:spChg chg="mod">
          <ac:chgData name="Iimura, Jinichi" userId="9e18df6b-b397-4f9f-a1c6-0abee7ae91a5" providerId="ADAL" clId="{8659CC36-693C-479B-B738-87E8E3013C2B}" dt="2025-06-30T03:45:49.903" v="2201" actId="20577"/>
          <ac:spMkLst>
            <pc:docMk/>
            <pc:sldMk cId="3417380775" sldId="2147476270"/>
            <ac:spMk id="5" creationId="{0383ADF8-D4D5-4223-2D06-3870C548F23A}"/>
          </ac:spMkLst>
        </pc:spChg>
        <pc:spChg chg="add mod">
          <ac:chgData name="Iimura, Jinichi" userId="9e18df6b-b397-4f9f-a1c6-0abee7ae91a5" providerId="ADAL" clId="{8659CC36-693C-479B-B738-87E8E3013C2B}" dt="2025-06-30T03:32:20.042" v="2112"/>
          <ac:spMkLst>
            <pc:docMk/>
            <pc:sldMk cId="3417380775" sldId="2147476270"/>
            <ac:spMk id="8" creationId="{CAD28496-5C0D-8B4B-D9AD-55F5ECC782FF}"/>
          </ac:spMkLst>
        </pc:spChg>
        <pc:spChg chg="mod">
          <ac:chgData name="Iimura, Jinichi" userId="9e18df6b-b397-4f9f-a1c6-0abee7ae91a5" providerId="ADAL" clId="{8659CC36-693C-479B-B738-87E8E3013C2B}" dt="2025-07-02T23:51:43.046" v="14139"/>
          <ac:spMkLst>
            <pc:docMk/>
            <pc:sldMk cId="3417380775" sldId="2147476270"/>
            <ac:spMk id="9" creationId="{7FAB7FED-86C0-349A-32E6-486F205BB8B9}"/>
          </ac:spMkLst>
        </pc:spChg>
        <pc:spChg chg="del">
          <ac:chgData name="Iimura, Jinichi" userId="9e18df6b-b397-4f9f-a1c6-0abee7ae91a5" providerId="ADAL" clId="{8659CC36-693C-479B-B738-87E8E3013C2B}" dt="2025-06-30T02:13:19.949" v="1389" actId="478"/>
          <ac:spMkLst>
            <pc:docMk/>
            <pc:sldMk cId="3417380775" sldId="2147476270"/>
            <ac:spMk id="66" creationId="{8A339021-7014-D902-DAE4-712C3FA18771}"/>
          </ac:spMkLst>
        </pc:spChg>
        <pc:graphicFrameChg chg="del">
          <ac:chgData name="Iimura, Jinichi" userId="9e18df6b-b397-4f9f-a1c6-0abee7ae91a5" providerId="ADAL" clId="{8659CC36-693C-479B-B738-87E8E3013C2B}" dt="2025-06-30T02:13:13.679" v="1388" actId="478"/>
          <ac:graphicFrameMkLst>
            <pc:docMk/>
            <pc:sldMk cId="3417380775" sldId="2147476270"/>
            <ac:graphicFrameMk id="3" creationId="{A4E43284-57D5-B177-675E-BBDFD96678C7}"/>
          </ac:graphicFrameMkLst>
        </pc:graphicFrameChg>
        <pc:graphicFrameChg chg="mod">
          <ac:chgData name="Iimura, Jinichi" userId="9e18df6b-b397-4f9f-a1c6-0abee7ae91a5" providerId="ADAL" clId="{8659CC36-693C-479B-B738-87E8E3013C2B}" dt="2025-06-30T01:37:48.282" v="899"/>
          <ac:graphicFrameMkLst>
            <pc:docMk/>
            <pc:sldMk cId="3417380775" sldId="2147476270"/>
            <ac:graphicFrameMk id="7" creationId="{2A84D1DA-97ED-2719-33EF-A13650BDF72A}"/>
          </ac:graphicFrameMkLst>
        </pc:graphicFrameChg>
      </pc:sldChg>
      <pc:sldChg chg="addSp delSp modSp add mod">
        <pc:chgData name="Iimura, Jinichi" userId="9e18df6b-b397-4f9f-a1c6-0abee7ae91a5" providerId="ADAL" clId="{8659CC36-693C-479B-B738-87E8E3013C2B}" dt="2025-06-30T08:47:26.721" v="5973" actId="2165"/>
        <pc:sldMkLst>
          <pc:docMk/>
          <pc:sldMk cId="4265059628" sldId="2147476271"/>
        </pc:sldMkLst>
        <pc:spChg chg="del mod">
          <ac:chgData name="Iimura, Jinichi" userId="9e18df6b-b397-4f9f-a1c6-0abee7ae91a5" providerId="ADAL" clId="{8659CC36-693C-479B-B738-87E8E3013C2B}" dt="2025-06-30T06:35:52.410" v="3000" actId="478"/>
          <ac:spMkLst>
            <pc:docMk/>
            <pc:sldMk cId="4265059628" sldId="2147476271"/>
            <ac:spMk id="2" creationId="{5AD5FEEA-0FC6-DEB8-E8A5-608250258016}"/>
          </ac:spMkLst>
        </pc:spChg>
        <pc:spChg chg="mod">
          <ac:chgData name="Iimura, Jinichi" userId="9e18df6b-b397-4f9f-a1c6-0abee7ae91a5" providerId="ADAL" clId="{8659CC36-693C-479B-B738-87E8E3013C2B}" dt="2025-06-30T01:38:37.158" v="999" actId="948"/>
          <ac:spMkLst>
            <pc:docMk/>
            <pc:sldMk cId="4265059628" sldId="2147476271"/>
            <ac:spMk id="4" creationId="{C0CD4ED1-0F74-83B6-F4AC-8C87103B97BF}"/>
          </ac:spMkLst>
        </pc:spChg>
        <pc:spChg chg="add mod">
          <ac:chgData name="Iimura, Jinichi" userId="9e18df6b-b397-4f9f-a1c6-0abee7ae91a5" providerId="ADAL" clId="{8659CC36-693C-479B-B738-87E8E3013C2B}" dt="2025-06-30T07:02:20.689" v="3600" actId="6549"/>
          <ac:spMkLst>
            <pc:docMk/>
            <pc:sldMk cId="4265059628" sldId="2147476271"/>
            <ac:spMk id="8" creationId="{D3E3391C-8A39-0D2B-11F0-3C16A26FF096}"/>
          </ac:spMkLst>
        </pc:spChg>
        <pc:spChg chg="del">
          <ac:chgData name="Iimura, Jinichi" userId="9e18df6b-b397-4f9f-a1c6-0abee7ae91a5" providerId="ADAL" clId="{8659CC36-693C-479B-B738-87E8E3013C2B}" dt="2025-06-30T06:42:22.731" v="3173" actId="478"/>
          <ac:spMkLst>
            <pc:docMk/>
            <pc:sldMk cId="4265059628" sldId="2147476271"/>
            <ac:spMk id="66" creationId="{8A339021-7014-D902-DAE4-712C3FA18771}"/>
          </ac:spMkLst>
        </pc:spChg>
        <pc:graphicFrameChg chg="del">
          <ac:chgData name="Iimura, Jinichi" userId="9e18df6b-b397-4f9f-a1c6-0abee7ae91a5" providerId="ADAL" clId="{8659CC36-693C-479B-B738-87E8E3013C2B}" dt="2025-06-30T06:30:10.997" v="2834" actId="478"/>
          <ac:graphicFrameMkLst>
            <pc:docMk/>
            <pc:sldMk cId="4265059628" sldId="2147476271"/>
            <ac:graphicFrameMk id="3" creationId="{A4E43284-57D5-B177-675E-BBDFD96678C7}"/>
          </ac:graphicFrameMkLst>
        </pc:graphicFrameChg>
        <pc:graphicFrameChg chg="add del mod modGraphic">
          <ac:chgData name="Iimura, Jinichi" userId="9e18df6b-b397-4f9f-a1c6-0abee7ae91a5" providerId="ADAL" clId="{8659CC36-693C-479B-B738-87E8E3013C2B}" dt="2025-06-30T06:41:00.862" v="3118" actId="478"/>
          <ac:graphicFrameMkLst>
            <pc:docMk/>
            <pc:sldMk cId="4265059628" sldId="2147476271"/>
            <ac:graphicFrameMk id="6" creationId="{D2BDFB05-273D-6F90-CAD4-5B2742A66EF9}"/>
          </ac:graphicFrameMkLst>
        </pc:graphicFrameChg>
        <pc:graphicFrameChg chg="mod">
          <ac:chgData name="Iimura, Jinichi" userId="9e18df6b-b397-4f9f-a1c6-0abee7ae91a5" providerId="ADAL" clId="{8659CC36-693C-479B-B738-87E8E3013C2B}" dt="2025-06-30T01:38:37.158" v="1001"/>
          <ac:graphicFrameMkLst>
            <pc:docMk/>
            <pc:sldMk cId="4265059628" sldId="2147476271"/>
            <ac:graphicFrameMk id="7" creationId="{2A84D1DA-97ED-2719-33EF-A13650BDF72A}"/>
          </ac:graphicFrameMkLst>
        </pc:graphicFrameChg>
        <pc:graphicFrameChg chg="add mod modGraphic">
          <ac:chgData name="Iimura, Jinichi" userId="9e18df6b-b397-4f9f-a1c6-0abee7ae91a5" providerId="ADAL" clId="{8659CC36-693C-479B-B738-87E8E3013C2B}" dt="2025-06-30T08:47:26.721" v="5973" actId="2165"/>
          <ac:graphicFrameMkLst>
            <pc:docMk/>
            <pc:sldMk cId="4265059628" sldId="2147476271"/>
            <ac:graphicFrameMk id="10" creationId="{C1671E97-7968-28B6-9B25-F786BB7D5496}"/>
          </ac:graphicFrameMkLst>
        </pc:graphicFrameChg>
      </pc:sldChg>
      <pc:sldChg chg="modSp add mod">
        <pc:chgData name="Iimura, Jinichi" userId="9e18df6b-b397-4f9f-a1c6-0abee7ae91a5" providerId="ADAL" clId="{8659CC36-693C-479B-B738-87E8E3013C2B}" dt="2025-06-30T01:38:48.213" v="1032"/>
        <pc:sldMkLst>
          <pc:docMk/>
          <pc:sldMk cId="1045415872" sldId="2147476272"/>
        </pc:sldMkLst>
        <pc:spChg chg="mod">
          <ac:chgData name="Iimura, Jinichi" userId="9e18df6b-b397-4f9f-a1c6-0abee7ae91a5" providerId="ADAL" clId="{8659CC36-693C-479B-B738-87E8E3013C2B}" dt="2025-06-30T01:38:48.213" v="1030" actId="948"/>
          <ac:spMkLst>
            <pc:docMk/>
            <pc:sldMk cId="1045415872" sldId="2147476272"/>
            <ac:spMk id="4" creationId="{C0CD4ED1-0F74-83B6-F4AC-8C87103B97BF}"/>
          </ac:spMkLst>
        </pc:spChg>
        <pc:graphicFrameChg chg="mod">
          <ac:chgData name="Iimura, Jinichi" userId="9e18df6b-b397-4f9f-a1c6-0abee7ae91a5" providerId="ADAL" clId="{8659CC36-693C-479B-B738-87E8E3013C2B}" dt="2025-06-30T01:38:48.213" v="1032"/>
          <ac:graphicFrameMkLst>
            <pc:docMk/>
            <pc:sldMk cId="1045415872" sldId="2147476272"/>
            <ac:graphicFrameMk id="7" creationId="{2A84D1DA-97ED-2719-33EF-A13650BDF72A}"/>
          </ac:graphicFrameMkLst>
        </pc:graphicFrameChg>
      </pc:sldChg>
      <pc:sldChg chg="addSp modSp add del mod">
        <pc:chgData name="Iimura, Jinichi" userId="9e18df6b-b397-4f9f-a1c6-0abee7ae91a5" providerId="ADAL" clId="{8659CC36-693C-479B-B738-87E8E3013C2B}" dt="2025-06-30T22:40:38.278" v="7720" actId="47"/>
        <pc:sldMkLst>
          <pc:docMk/>
          <pc:sldMk cId="1036007183" sldId="2147476273"/>
        </pc:sldMkLst>
        <pc:spChg chg="mod">
          <ac:chgData name="Iimura, Jinichi" userId="9e18df6b-b397-4f9f-a1c6-0abee7ae91a5" providerId="ADAL" clId="{8659CC36-693C-479B-B738-87E8E3013C2B}" dt="2025-06-30T01:42:59.952" v="1076" actId="20577"/>
          <ac:spMkLst>
            <pc:docMk/>
            <pc:sldMk cId="1036007183" sldId="2147476273"/>
            <ac:spMk id="3" creationId="{1E34451F-92DA-79B3-D1F0-D2B52A45005B}"/>
          </ac:spMkLst>
        </pc:spChg>
        <pc:spChg chg="mod">
          <ac:chgData name="Iimura, Jinichi" userId="9e18df6b-b397-4f9f-a1c6-0abee7ae91a5" providerId="ADAL" clId="{8659CC36-693C-479B-B738-87E8E3013C2B}" dt="2025-06-30T01:40:09.790" v="1073" actId="20577"/>
          <ac:spMkLst>
            <pc:docMk/>
            <pc:sldMk cId="1036007183" sldId="2147476273"/>
            <ac:spMk id="4" creationId="{20240A8E-9B73-AE5A-5D61-C7E42CFDAB6C}"/>
          </ac:spMkLst>
        </pc:spChg>
        <pc:graphicFrameChg chg="add mod ord modVis replST delST">
          <ac:chgData name="Iimura, Jinichi" userId="9e18df6b-b397-4f9f-a1c6-0abee7ae91a5" providerId="ADAL" clId="{8659CC36-693C-479B-B738-87E8E3013C2B}" dt="2025-06-30T01:40:09.777" v="1070" actId="14100"/>
          <ac:graphicFrameMkLst>
            <pc:docMk/>
            <pc:sldMk cId="1036007183" sldId="2147476273"/>
            <ac:graphicFrameMk id="6" creationId="{E2819403-E860-1944-C8BB-3674DFBC16A6}"/>
          </ac:graphicFrameMkLst>
        </pc:graphicFrameChg>
      </pc:sldChg>
      <pc:sldChg chg="addSp delSp modSp add mod">
        <pc:chgData name="Iimura, Jinichi" userId="9e18df6b-b397-4f9f-a1c6-0abee7ae91a5" providerId="ADAL" clId="{8659CC36-693C-479B-B738-87E8E3013C2B}" dt="2025-07-02T23:52:06.275" v="14145" actId="20577"/>
        <pc:sldMkLst>
          <pc:docMk/>
          <pc:sldMk cId="981236981" sldId="2147476274"/>
        </pc:sldMkLst>
        <pc:spChg chg="add del">
          <ac:chgData name="Iimura, Jinichi" userId="9e18df6b-b397-4f9f-a1c6-0abee7ae91a5" providerId="ADAL" clId="{8659CC36-693C-479B-B738-87E8E3013C2B}" dt="2025-06-30T03:32:28.937" v="2115" actId="478"/>
          <ac:spMkLst>
            <pc:docMk/>
            <pc:sldMk cId="981236981" sldId="2147476274"/>
            <ac:spMk id="2" creationId="{3B84560E-C9F3-C336-7F55-25F16E12EAD5}"/>
          </ac:spMkLst>
        </pc:spChg>
        <pc:spChg chg="mod">
          <ac:chgData name="Iimura, Jinichi" userId="9e18df6b-b397-4f9f-a1c6-0abee7ae91a5" providerId="ADAL" clId="{8659CC36-693C-479B-B738-87E8E3013C2B}" dt="2025-06-30T07:18:23.592" v="3712" actId="6549"/>
          <ac:spMkLst>
            <pc:docMk/>
            <pc:sldMk cId="981236981" sldId="2147476274"/>
            <ac:spMk id="3" creationId="{251B3422-0C83-F0E0-CEB5-1398EC9D9C0C}"/>
          </ac:spMkLst>
        </pc:spChg>
        <pc:spChg chg="mod">
          <ac:chgData name="Iimura, Jinichi" userId="9e18df6b-b397-4f9f-a1c6-0abee7ae91a5" providerId="ADAL" clId="{8659CC36-693C-479B-B738-87E8E3013C2B}" dt="2025-06-30T02:02:23.285" v="1235" actId="948"/>
          <ac:spMkLst>
            <pc:docMk/>
            <pc:sldMk cId="981236981" sldId="2147476274"/>
            <ac:spMk id="4" creationId="{C0CD4ED1-0F74-83B6-F4AC-8C87103B97BF}"/>
          </ac:spMkLst>
        </pc:spChg>
        <pc:spChg chg="add del">
          <ac:chgData name="Iimura, Jinichi" userId="9e18df6b-b397-4f9f-a1c6-0abee7ae91a5" providerId="ADAL" clId="{8659CC36-693C-479B-B738-87E8E3013C2B}" dt="2025-06-30T02:02:35.222" v="1240" actId="478"/>
          <ac:spMkLst>
            <pc:docMk/>
            <pc:sldMk cId="981236981" sldId="2147476274"/>
            <ac:spMk id="11" creationId="{0EC7281E-A90C-3C15-49DE-D55E499FAA99}"/>
          </ac:spMkLst>
        </pc:spChg>
        <pc:spChg chg="add mod">
          <ac:chgData name="Iimura, Jinichi" userId="9e18df6b-b397-4f9f-a1c6-0abee7ae91a5" providerId="ADAL" clId="{8659CC36-693C-479B-B738-87E8E3013C2B}" dt="2025-06-30T03:32:45.341" v="2120" actId="1076"/>
          <ac:spMkLst>
            <pc:docMk/>
            <pc:sldMk cId="981236981" sldId="2147476274"/>
            <ac:spMk id="28" creationId="{B45C7C43-84BC-EB68-B34A-AAE39F6D8E9C}"/>
          </ac:spMkLst>
        </pc:spChg>
        <pc:spChg chg="add del mod">
          <ac:chgData name="Iimura, Jinichi" userId="9e18df6b-b397-4f9f-a1c6-0abee7ae91a5" providerId="ADAL" clId="{8659CC36-693C-479B-B738-87E8E3013C2B}" dt="2025-06-30T07:17:24.949" v="3698" actId="478"/>
          <ac:spMkLst>
            <pc:docMk/>
            <pc:sldMk cId="981236981" sldId="2147476274"/>
            <ac:spMk id="55" creationId="{6FA2751C-5E94-2443-DF69-B7D93B32E745}"/>
          </ac:spMkLst>
        </pc:spChg>
        <pc:spChg chg="add mod">
          <ac:chgData name="Iimura, Jinichi" userId="9e18df6b-b397-4f9f-a1c6-0abee7ae91a5" providerId="ADAL" clId="{8659CC36-693C-479B-B738-87E8E3013C2B}" dt="2025-06-30T07:17:33.236" v="3699"/>
          <ac:spMkLst>
            <pc:docMk/>
            <pc:sldMk cId="981236981" sldId="2147476274"/>
            <ac:spMk id="62" creationId="{6A1BCE39-0C1D-C690-17AE-0352B45E81D9}"/>
          </ac:spMkLst>
        </pc:spChg>
        <pc:spChg chg="add mod">
          <ac:chgData name="Iimura, Jinichi" userId="9e18df6b-b397-4f9f-a1c6-0abee7ae91a5" providerId="ADAL" clId="{8659CC36-693C-479B-B738-87E8E3013C2B}" dt="2025-06-30T07:17:33.236" v="3699"/>
          <ac:spMkLst>
            <pc:docMk/>
            <pc:sldMk cId="981236981" sldId="2147476274"/>
            <ac:spMk id="64" creationId="{13EC976A-70C1-07F7-1631-08311F568443}"/>
          </ac:spMkLst>
        </pc:spChg>
        <pc:spChg chg="add mod">
          <ac:chgData name="Iimura, Jinichi" userId="9e18df6b-b397-4f9f-a1c6-0abee7ae91a5" providerId="ADAL" clId="{8659CC36-693C-479B-B738-87E8E3013C2B}" dt="2025-06-30T07:17:33.236" v="3699"/>
          <ac:spMkLst>
            <pc:docMk/>
            <pc:sldMk cId="981236981" sldId="2147476274"/>
            <ac:spMk id="65" creationId="{CC1561BF-10E3-2DF4-2117-73A892FF2A8C}"/>
          </ac:spMkLst>
        </pc:spChg>
        <pc:spChg chg="add mod">
          <ac:chgData name="Iimura, Jinichi" userId="9e18df6b-b397-4f9f-a1c6-0abee7ae91a5" providerId="ADAL" clId="{8659CC36-693C-479B-B738-87E8E3013C2B}" dt="2025-06-30T07:17:33.236" v="3699"/>
          <ac:spMkLst>
            <pc:docMk/>
            <pc:sldMk cId="981236981" sldId="2147476274"/>
            <ac:spMk id="66" creationId="{DFC78B9A-2902-EF1C-95CD-C349A058CECA}"/>
          </ac:spMkLst>
        </pc:spChg>
        <pc:spChg chg="add mod">
          <ac:chgData name="Iimura, Jinichi" userId="9e18df6b-b397-4f9f-a1c6-0abee7ae91a5" providerId="ADAL" clId="{8659CC36-693C-479B-B738-87E8E3013C2B}" dt="2025-06-30T07:17:33.236" v="3699"/>
          <ac:spMkLst>
            <pc:docMk/>
            <pc:sldMk cId="981236981" sldId="2147476274"/>
            <ac:spMk id="67" creationId="{E72244ED-6865-712C-D739-8D2C2E353BA3}"/>
          </ac:spMkLst>
        </pc:spChg>
        <pc:spChg chg="add mod">
          <ac:chgData name="Iimura, Jinichi" userId="9e18df6b-b397-4f9f-a1c6-0abee7ae91a5" providerId="ADAL" clId="{8659CC36-693C-479B-B738-87E8E3013C2B}" dt="2025-06-30T07:17:33.236" v="3699"/>
          <ac:spMkLst>
            <pc:docMk/>
            <pc:sldMk cId="981236981" sldId="2147476274"/>
            <ac:spMk id="72" creationId="{D62F4136-E894-40DC-C19A-7FB746ACAEF5}"/>
          </ac:spMkLst>
        </pc:spChg>
        <pc:spChg chg="add mod">
          <ac:chgData name="Iimura, Jinichi" userId="9e18df6b-b397-4f9f-a1c6-0abee7ae91a5" providerId="ADAL" clId="{8659CC36-693C-479B-B738-87E8E3013C2B}" dt="2025-06-30T07:17:33.236" v="3699"/>
          <ac:spMkLst>
            <pc:docMk/>
            <pc:sldMk cId="981236981" sldId="2147476274"/>
            <ac:spMk id="73" creationId="{553A8827-5718-5268-6775-6323ED875CB7}"/>
          </ac:spMkLst>
        </pc:spChg>
        <pc:spChg chg="add mod">
          <ac:chgData name="Iimura, Jinichi" userId="9e18df6b-b397-4f9f-a1c6-0abee7ae91a5" providerId="ADAL" clId="{8659CC36-693C-479B-B738-87E8E3013C2B}" dt="2025-06-30T07:17:33.236" v="3699"/>
          <ac:spMkLst>
            <pc:docMk/>
            <pc:sldMk cId="981236981" sldId="2147476274"/>
            <ac:spMk id="74" creationId="{666CB7EE-6B7F-09B8-8D24-BF3BEA6EF48A}"/>
          </ac:spMkLst>
        </pc:spChg>
        <pc:spChg chg="add mod">
          <ac:chgData name="Iimura, Jinichi" userId="9e18df6b-b397-4f9f-a1c6-0abee7ae91a5" providerId="ADAL" clId="{8659CC36-693C-479B-B738-87E8E3013C2B}" dt="2025-06-30T07:17:33.236" v="3699"/>
          <ac:spMkLst>
            <pc:docMk/>
            <pc:sldMk cId="981236981" sldId="2147476274"/>
            <ac:spMk id="75" creationId="{E7D11B37-A624-BA7B-054F-B1CF75A6A334}"/>
          </ac:spMkLst>
        </pc:spChg>
        <pc:spChg chg="add mod">
          <ac:chgData name="Iimura, Jinichi" userId="9e18df6b-b397-4f9f-a1c6-0abee7ae91a5" providerId="ADAL" clId="{8659CC36-693C-479B-B738-87E8E3013C2B}" dt="2025-06-30T07:17:33.236" v="3699"/>
          <ac:spMkLst>
            <pc:docMk/>
            <pc:sldMk cId="981236981" sldId="2147476274"/>
            <ac:spMk id="76" creationId="{49A430D3-1BDA-429F-A42D-03B670E9707C}"/>
          </ac:spMkLst>
        </pc:spChg>
        <pc:spChg chg="add mod topLvl">
          <ac:chgData name="Iimura, Jinichi" userId="9e18df6b-b397-4f9f-a1c6-0abee7ae91a5" providerId="ADAL" clId="{8659CC36-693C-479B-B738-87E8E3013C2B}" dt="2025-07-02T12:51:43.764" v="13407" actId="14100"/>
          <ac:spMkLst>
            <pc:docMk/>
            <pc:sldMk cId="981236981" sldId="2147476274"/>
            <ac:spMk id="83" creationId="{75A62634-CEF8-8768-F6D3-E5751EF29FC1}"/>
          </ac:spMkLst>
        </pc:spChg>
        <pc:spChg chg="add del mod topLvl">
          <ac:chgData name="Iimura, Jinichi" userId="9e18df6b-b397-4f9f-a1c6-0abee7ae91a5" providerId="ADAL" clId="{8659CC36-693C-479B-B738-87E8E3013C2B}" dt="2025-07-02T12:45:26.618" v="13382" actId="1076"/>
          <ac:spMkLst>
            <pc:docMk/>
            <pc:sldMk cId="981236981" sldId="2147476274"/>
            <ac:spMk id="84" creationId="{881F402C-1876-F446-7685-26DD30711013}"/>
          </ac:spMkLst>
        </pc:spChg>
        <pc:spChg chg="add mod topLvl">
          <ac:chgData name="Iimura, Jinichi" userId="9e18df6b-b397-4f9f-a1c6-0abee7ae91a5" providerId="ADAL" clId="{8659CC36-693C-479B-B738-87E8E3013C2B}" dt="2025-07-02T12:51:50.389" v="13408" actId="14100"/>
          <ac:spMkLst>
            <pc:docMk/>
            <pc:sldMk cId="981236981" sldId="2147476274"/>
            <ac:spMk id="85" creationId="{1919DEAA-049E-D375-9F18-87C299672303}"/>
          </ac:spMkLst>
        </pc:spChg>
        <pc:spChg chg="add mod topLvl">
          <ac:chgData name="Iimura, Jinichi" userId="9e18df6b-b397-4f9f-a1c6-0abee7ae91a5" providerId="ADAL" clId="{8659CC36-693C-479B-B738-87E8E3013C2B}" dt="2025-07-02T12:43:42.774" v="13223" actId="1076"/>
          <ac:spMkLst>
            <pc:docMk/>
            <pc:sldMk cId="981236981" sldId="2147476274"/>
            <ac:spMk id="86" creationId="{A734A665-A87D-F11B-F2AE-D85B2477CFA5}"/>
          </ac:spMkLst>
        </pc:spChg>
        <pc:spChg chg="add mod topLvl">
          <ac:chgData name="Iimura, Jinichi" userId="9e18df6b-b397-4f9f-a1c6-0abee7ae91a5" providerId="ADAL" clId="{8659CC36-693C-479B-B738-87E8E3013C2B}" dt="2025-07-02T12:51:50.389" v="13408" actId="14100"/>
          <ac:spMkLst>
            <pc:docMk/>
            <pc:sldMk cId="981236981" sldId="2147476274"/>
            <ac:spMk id="87" creationId="{4A02E4AC-8958-FCC4-F0B2-3893ACA676B8}"/>
          </ac:spMkLst>
        </pc:spChg>
        <pc:spChg chg="add mod topLvl">
          <ac:chgData name="Iimura, Jinichi" userId="9e18df6b-b397-4f9f-a1c6-0abee7ae91a5" providerId="ADAL" clId="{8659CC36-693C-479B-B738-87E8E3013C2B}" dt="2025-07-02T12:43:42.774" v="13223" actId="1076"/>
          <ac:spMkLst>
            <pc:docMk/>
            <pc:sldMk cId="981236981" sldId="2147476274"/>
            <ac:spMk id="88" creationId="{75EC14CE-9952-A8DE-0D58-569B0AC2B836}"/>
          </ac:spMkLst>
        </pc:spChg>
        <pc:spChg chg="add del mod topLvl">
          <ac:chgData name="Iimura, Jinichi" userId="9e18df6b-b397-4f9f-a1c6-0abee7ae91a5" providerId="ADAL" clId="{8659CC36-693C-479B-B738-87E8E3013C2B}" dt="2025-07-02T12:35:26.464" v="12938" actId="21"/>
          <ac:spMkLst>
            <pc:docMk/>
            <pc:sldMk cId="981236981" sldId="2147476274"/>
            <ac:spMk id="89" creationId="{56473014-D166-E9CA-FC1F-46A765F381A0}"/>
          </ac:spMkLst>
        </pc:spChg>
        <pc:spChg chg="add del mod topLvl">
          <ac:chgData name="Iimura, Jinichi" userId="9e18df6b-b397-4f9f-a1c6-0abee7ae91a5" providerId="ADAL" clId="{8659CC36-693C-479B-B738-87E8E3013C2B}" dt="2025-07-02T12:35:26.464" v="12938" actId="21"/>
          <ac:spMkLst>
            <pc:docMk/>
            <pc:sldMk cId="981236981" sldId="2147476274"/>
            <ac:spMk id="90" creationId="{9F0CADBE-6645-4BA8-A73A-5B462BF8A346}"/>
          </ac:spMkLst>
        </pc:spChg>
        <pc:spChg chg="add mod topLvl">
          <ac:chgData name="Iimura, Jinichi" userId="9e18df6b-b397-4f9f-a1c6-0abee7ae91a5" providerId="ADAL" clId="{8659CC36-693C-479B-B738-87E8E3013C2B}" dt="2025-07-02T23:52:06.275" v="14145" actId="20577"/>
          <ac:spMkLst>
            <pc:docMk/>
            <pc:sldMk cId="981236981" sldId="2147476274"/>
            <ac:spMk id="91" creationId="{6CE6E245-6D90-A273-F2A0-D60BE5CDAECB}"/>
          </ac:spMkLst>
        </pc:spChg>
        <pc:spChg chg="add del mod">
          <ac:chgData name="Iimura, Jinichi" userId="9e18df6b-b397-4f9f-a1c6-0abee7ae91a5" providerId="ADAL" clId="{8659CC36-693C-479B-B738-87E8E3013C2B}" dt="2025-06-30T07:22:30.545" v="3810" actId="478"/>
          <ac:spMkLst>
            <pc:docMk/>
            <pc:sldMk cId="981236981" sldId="2147476274"/>
            <ac:spMk id="92" creationId="{FB29D3D2-993B-758A-AE64-338460FA6218}"/>
          </ac:spMkLst>
        </pc:spChg>
        <pc:spChg chg="add mod">
          <ac:chgData name="Iimura, Jinichi" userId="9e18df6b-b397-4f9f-a1c6-0abee7ae91a5" providerId="ADAL" clId="{8659CC36-693C-479B-B738-87E8E3013C2B}" dt="2025-06-30T07:19:41.671" v="3730"/>
          <ac:spMkLst>
            <pc:docMk/>
            <pc:sldMk cId="981236981" sldId="2147476274"/>
            <ac:spMk id="96" creationId="{E213DAD6-547C-3819-DD5A-DDCCCA702252}"/>
          </ac:spMkLst>
        </pc:spChg>
        <pc:spChg chg="add mod">
          <ac:chgData name="Iimura, Jinichi" userId="9e18df6b-b397-4f9f-a1c6-0abee7ae91a5" providerId="ADAL" clId="{8659CC36-693C-479B-B738-87E8E3013C2B}" dt="2025-06-30T07:19:41.671" v="3730"/>
          <ac:spMkLst>
            <pc:docMk/>
            <pc:sldMk cId="981236981" sldId="2147476274"/>
            <ac:spMk id="97" creationId="{1CE821C9-5BA7-65DD-6538-72ED48109224}"/>
          </ac:spMkLst>
        </pc:spChg>
        <pc:spChg chg="add mod">
          <ac:chgData name="Iimura, Jinichi" userId="9e18df6b-b397-4f9f-a1c6-0abee7ae91a5" providerId="ADAL" clId="{8659CC36-693C-479B-B738-87E8E3013C2B}" dt="2025-06-30T07:19:41.671" v="3730"/>
          <ac:spMkLst>
            <pc:docMk/>
            <pc:sldMk cId="981236981" sldId="2147476274"/>
            <ac:spMk id="98" creationId="{37C2EFD6-82EC-8742-13F7-5702ECA9CDBE}"/>
          </ac:spMkLst>
        </pc:spChg>
        <pc:spChg chg="add mod">
          <ac:chgData name="Iimura, Jinichi" userId="9e18df6b-b397-4f9f-a1c6-0abee7ae91a5" providerId="ADAL" clId="{8659CC36-693C-479B-B738-87E8E3013C2B}" dt="2025-06-30T07:19:41.671" v="3730"/>
          <ac:spMkLst>
            <pc:docMk/>
            <pc:sldMk cId="981236981" sldId="2147476274"/>
            <ac:spMk id="99" creationId="{E46DBE8D-170A-3845-47A4-9851151A028E}"/>
          </ac:spMkLst>
        </pc:spChg>
        <pc:spChg chg="add mod">
          <ac:chgData name="Iimura, Jinichi" userId="9e18df6b-b397-4f9f-a1c6-0abee7ae91a5" providerId="ADAL" clId="{8659CC36-693C-479B-B738-87E8E3013C2B}" dt="2025-06-30T07:19:41.671" v="3730"/>
          <ac:spMkLst>
            <pc:docMk/>
            <pc:sldMk cId="981236981" sldId="2147476274"/>
            <ac:spMk id="100" creationId="{B8CB5B88-4052-8D32-A5B3-E5B22A82FE78}"/>
          </ac:spMkLst>
        </pc:spChg>
        <pc:spChg chg="add mod">
          <ac:chgData name="Iimura, Jinichi" userId="9e18df6b-b397-4f9f-a1c6-0abee7ae91a5" providerId="ADAL" clId="{8659CC36-693C-479B-B738-87E8E3013C2B}" dt="2025-06-30T07:19:41.671" v="3730"/>
          <ac:spMkLst>
            <pc:docMk/>
            <pc:sldMk cId="981236981" sldId="2147476274"/>
            <ac:spMk id="101" creationId="{F96BFB36-CAB3-8012-E0BA-1C64CD36FC73}"/>
          </ac:spMkLst>
        </pc:spChg>
        <pc:spChg chg="add mod">
          <ac:chgData name="Iimura, Jinichi" userId="9e18df6b-b397-4f9f-a1c6-0abee7ae91a5" providerId="ADAL" clId="{8659CC36-693C-479B-B738-87E8E3013C2B}" dt="2025-06-30T07:19:41.671" v="3730"/>
          <ac:spMkLst>
            <pc:docMk/>
            <pc:sldMk cId="981236981" sldId="2147476274"/>
            <ac:spMk id="102" creationId="{B66ECA07-AC59-66E5-009D-E45356D1597A}"/>
          </ac:spMkLst>
        </pc:spChg>
        <pc:spChg chg="add mod">
          <ac:chgData name="Iimura, Jinichi" userId="9e18df6b-b397-4f9f-a1c6-0abee7ae91a5" providerId="ADAL" clId="{8659CC36-693C-479B-B738-87E8E3013C2B}" dt="2025-06-30T07:19:41.671" v="3730"/>
          <ac:spMkLst>
            <pc:docMk/>
            <pc:sldMk cId="981236981" sldId="2147476274"/>
            <ac:spMk id="103" creationId="{78B5D844-D119-F366-4EBF-F8C006AD1C15}"/>
          </ac:spMkLst>
        </pc:spChg>
        <pc:spChg chg="add mod">
          <ac:chgData name="Iimura, Jinichi" userId="9e18df6b-b397-4f9f-a1c6-0abee7ae91a5" providerId="ADAL" clId="{8659CC36-693C-479B-B738-87E8E3013C2B}" dt="2025-06-30T07:22:31.063" v="3811"/>
          <ac:spMkLst>
            <pc:docMk/>
            <pc:sldMk cId="981236981" sldId="2147476274"/>
            <ac:spMk id="104" creationId="{29033AB2-6ACC-64B2-C7C5-CD7B59A84E7A}"/>
          </ac:spMkLst>
        </pc:spChg>
        <pc:spChg chg="add mod">
          <ac:chgData name="Iimura, Jinichi" userId="9e18df6b-b397-4f9f-a1c6-0abee7ae91a5" providerId="ADAL" clId="{8659CC36-693C-479B-B738-87E8E3013C2B}" dt="2025-07-02T12:51:41.774" v="13406" actId="14100"/>
          <ac:spMkLst>
            <pc:docMk/>
            <pc:sldMk cId="981236981" sldId="2147476274"/>
            <ac:spMk id="106" creationId="{68F21377-977B-8487-7180-D7C3CF3D85D2}"/>
          </ac:spMkLst>
        </pc:spChg>
        <pc:spChg chg="add del mod">
          <ac:chgData name="Iimura, Jinichi" userId="9e18df6b-b397-4f9f-a1c6-0abee7ae91a5" providerId="ADAL" clId="{8659CC36-693C-479B-B738-87E8E3013C2B}" dt="2025-07-02T12:45:30.721" v="13384" actId="14100"/>
          <ac:spMkLst>
            <pc:docMk/>
            <pc:sldMk cId="981236981" sldId="2147476274"/>
            <ac:spMk id="107" creationId="{E06949D5-C669-E0BE-EAC6-1984A75F7DD9}"/>
          </ac:spMkLst>
        </pc:spChg>
        <pc:grpChg chg="add del mod">
          <ac:chgData name="Iimura, Jinichi" userId="9e18df6b-b397-4f9f-a1c6-0abee7ae91a5" providerId="ADAL" clId="{8659CC36-693C-479B-B738-87E8E3013C2B}" dt="2025-06-30T07:17:24.949" v="3698" actId="478"/>
          <ac:grpSpMkLst>
            <pc:docMk/>
            <pc:sldMk cId="981236981" sldId="2147476274"/>
            <ac:grpSpMk id="5" creationId="{1FB5F546-8026-5D6E-EDD3-30F35106BEC9}"/>
          </ac:grpSpMkLst>
        </pc:grpChg>
        <pc:grpChg chg="add del mod">
          <ac:chgData name="Iimura, Jinichi" userId="9e18df6b-b397-4f9f-a1c6-0abee7ae91a5" providerId="ADAL" clId="{8659CC36-693C-479B-B738-87E8E3013C2B}" dt="2025-06-30T07:17:24.949" v="3698" actId="478"/>
          <ac:grpSpMkLst>
            <pc:docMk/>
            <pc:sldMk cId="981236981" sldId="2147476274"/>
            <ac:grpSpMk id="10" creationId="{6857AD27-1260-83BF-55F3-121A3C1DE4B9}"/>
          </ac:grpSpMkLst>
        </pc:grpChg>
        <pc:grpChg chg="add del mod">
          <ac:chgData name="Iimura, Jinichi" userId="9e18df6b-b397-4f9f-a1c6-0abee7ae91a5" providerId="ADAL" clId="{8659CC36-693C-479B-B738-87E8E3013C2B}" dt="2025-06-30T07:17:24.949" v="3698" actId="478"/>
          <ac:grpSpMkLst>
            <pc:docMk/>
            <pc:sldMk cId="981236981" sldId="2147476274"/>
            <ac:grpSpMk id="50" creationId="{7C0881D9-94D8-A3C4-0F33-E5FF9163824A}"/>
          </ac:grpSpMkLst>
        </pc:grpChg>
        <pc:grpChg chg="add mod">
          <ac:chgData name="Iimura, Jinichi" userId="9e18df6b-b397-4f9f-a1c6-0abee7ae91a5" providerId="ADAL" clId="{8659CC36-693C-479B-B738-87E8E3013C2B}" dt="2025-06-30T07:17:33.236" v="3699"/>
          <ac:grpSpMkLst>
            <pc:docMk/>
            <pc:sldMk cId="981236981" sldId="2147476274"/>
            <ac:grpSpMk id="56" creationId="{A903ED5D-34EB-FEF6-5EEE-FF450C22D5DA}"/>
          </ac:grpSpMkLst>
        </pc:grpChg>
        <pc:grpChg chg="add mod">
          <ac:chgData name="Iimura, Jinichi" userId="9e18df6b-b397-4f9f-a1c6-0abee7ae91a5" providerId="ADAL" clId="{8659CC36-693C-479B-B738-87E8E3013C2B}" dt="2025-06-30T07:17:33.236" v="3699"/>
          <ac:grpSpMkLst>
            <pc:docMk/>
            <pc:sldMk cId="981236981" sldId="2147476274"/>
            <ac:grpSpMk id="59" creationId="{7F91900D-D614-0811-3EA3-8917068FC834}"/>
          </ac:grpSpMkLst>
        </pc:grpChg>
        <pc:grpChg chg="add del">
          <ac:chgData name="Iimura, Jinichi" userId="9e18df6b-b397-4f9f-a1c6-0abee7ae91a5" providerId="ADAL" clId="{8659CC36-693C-479B-B738-87E8E3013C2B}" dt="2025-06-30T02:02:35.222" v="1240" actId="478"/>
          <ac:grpSpMkLst>
            <pc:docMk/>
            <pc:sldMk cId="981236981" sldId="2147476274"/>
            <ac:grpSpMk id="68" creationId="{EBEE1C83-0270-E322-832F-99BE62E97FD3}"/>
          </ac:grpSpMkLst>
        </pc:grpChg>
        <pc:grpChg chg="add del">
          <ac:chgData name="Iimura, Jinichi" userId="9e18df6b-b397-4f9f-a1c6-0abee7ae91a5" providerId="ADAL" clId="{8659CC36-693C-479B-B738-87E8E3013C2B}" dt="2025-06-30T02:02:35.222" v="1240" actId="478"/>
          <ac:grpSpMkLst>
            <pc:docMk/>
            <pc:sldMk cId="981236981" sldId="2147476274"/>
            <ac:grpSpMk id="69" creationId="{C3680BE3-F232-B11C-956A-27795E908B71}"/>
          </ac:grpSpMkLst>
        </pc:grpChg>
        <pc:grpChg chg="add del">
          <ac:chgData name="Iimura, Jinichi" userId="9e18df6b-b397-4f9f-a1c6-0abee7ae91a5" providerId="ADAL" clId="{8659CC36-693C-479B-B738-87E8E3013C2B}" dt="2025-06-30T02:02:35.222" v="1240" actId="478"/>
          <ac:grpSpMkLst>
            <pc:docMk/>
            <pc:sldMk cId="981236981" sldId="2147476274"/>
            <ac:grpSpMk id="70" creationId="{6530B1D1-AA14-D51A-4D32-DC978671D972}"/>
          </ac:grpSpMkLst>
        </pc:grpChg>
        <pc:grpChg chg="add del">
          <ac:chgData name="Iimura, Jinichi" userId="9e18df6b-b397-4f9f-a1c6-0abee7ae91a5" providerId="ADAL" clId="{8659CC36-693C-479B-B738-87E8E3013C2B}" dt="2025-06-30T02:02:35.222" v="1240" actId="478"/>
          <ac:grpSpMkLst>
            <pc:docMk/>
            <pc:sldMk cId="981236981" sldId="2147476274"/>
            <ac:grpSpMk id="71" creationId="{BD526EED-CF68-0C22-9262-9FA5612DA62B}"/>
          </ac:grpSpMkLst>
        </pc:grpChg>
        <pc:grpChg chg="add del mod topLvl">
          <ac:chgData name="Iimura, Jinichi" userId="9e18df6b-b397-4f9f-a1c6-0abee7ae91a5" providerId="ADAL" clId="{8659CC36-693C-479B-B738-87E8E3013C2B}" dt="2025-07-02T12:42:41.886" v="13209" actId="165"/>
          <ac:grpSpMkLst>
            <pc:docMk/>
            <pc:sldMk cId="981236981" sldId="2147476274"/>
            <ac:grpSpMk id="77" creationId="{429718CD-5108-48A1-8C03-979363C1BC36}"/>
          </ac:grpSpMkLst>
        </pc:grpChg>
        <pc:grpChg chg="add del mod topLvl">
          <ac:chgData name="Iimura, Jinichi" userId="9e18df6b-b397-4f9f-a1c6-0abee7ae91a5" providerId="ADAL" clId="{8659CC36-693C-479B-B738-87E8E3013C2B}" dt="2025-07-02T12:35:16.113" v="12937" actId="165"/>
          <ac:grpSpMkLst>
            <pc:docMk/>
            <pc:sldMk cId="981236981" sldId="2147476274"/>
            <ac:grpSpMk id="80" creationId="{0C6A1D51-C7BA-CFF2-A7C9-323DE9E85695}"/>
          </ac:grpSpMkLst>
        </pc:grpChg>
        <pc:grpChg chg="add del mod">
          <ac:chgData name="Iimura, Jinichi" userId="9e18df6b-b397-4f9f-a1c6-0abee7ae91a5" providerId="ADAL" clId="{8659CC36-693C-479B-B738-87E8E3013C2B}" dt="2025-07-02T12:35:11.457" v="12936" actId="165"/>
          <ac:grpSpMkLst>
            <pc:docMk/>
            <pc:sldMk cId="981236981" sldId="2147476274"/>
            <ac:grpSpMk id="93" creationId="{7D71067C-E97E-4CCA-F883-1E0105700641}"/>
          </ac:grpSpMkLst>
        </pc:grpChg>
        <pc:graphicFrameChg chg="mod">
          <ac:chgData name="Iimura, Jinichi" userId="9e18df6b-b397-4f9f-a1c6-0abee7ae91a5" providerId="ADAL" clId="{8659CC36-693C-479B-B738-87E8E3013C2B}" dt="2025-06-30T02:02:23.285" v="1237"/>
          <ac:graphicFrameMkLst>
            <pc:docMk/>
            <pc:sldMk cId="981236981" sldId="2147476274"/>
            <ac:graphicFrameMk id="7" creationId="{2A84D1DA-97ED-2719-33EF-A13650BDF72A}"/>
          </ac:graphicFrameMkLst>
        </pc:graphicFrameChg>
        <pc:picChg chg="mod">
          <ac:chgData name="Iimura, Jinichi" userId="9e18df6b-b397-4f9f-a1c6-0abee7ae91a5" providerId="ADAL" clId="{8659CC36-693C-479B-B738-87E8E3013C2B}" dt="2025-06-30T03:29:48.793" v="2087"/>
          <ac:picMkLst>
            <pc:docMk/>
            <pc:sldMk cId="981236981" sldId="2147476274"/>
            <ac:picMk id="6" creationId="{540EF312-A4B8-CF1F-24D7-6BC3E90E437F}"/>
          </ac:picMkLst>
        </pc:picChg>
        <pc:picChg chg="mod">
          <ac:chgData name="Iimura, Jinichi" userId="9e18df6b-b397-4f9f-a1c6-0abee7ae91a5" providerId="ADAL" clId="{8659CC36-693C-479B-B738-87E8E3013C2B}" dt="2025-06-30T03:29:48.793" v="2087"/>
          <ac:picMkLst>
            <pc:docMk/>
            <pc:sldMk cId="981236981" sldId="2147476274"/>
            <ac:picMk id="8" creationId="{9C138105-0F27-42BD-E2B7-34006EAEFCC9}"/>
          </ac:picMkLst>
        </pc:picChg>
        <pc:picChg chg="mod">
          <ac:chgData name="Iimura, Jinichi" userId="9e18df6b-b397-4f9f-a1c6-0abee7ae91a5" providerId="ADAL" clId="{8659CC36-693C-479B-B738-87E8E3013C2B}" dt="2025-06-30T03:29:48.793" v="2087"/>
          <ac:picMkLst>
            <pc:docMk/>
            <pc:sldMk cId="981236981" sldId="2147476274"/>
            <ac:picMk id="25" creationId="{36D6968E-C597-8461-4DAD-A6B9EC2FFCC8}"/>
          </ac:picMkLst>
        </pc:picChg>
        <pc:picChg chg="mod">
          <ac:chgData name="Iimura, Jinichi" userId="9e18df6b-b397-4f9f-a1c6-0abee7ae91a5" providerId="ADAL" clId="{8659CC36-693C-479B-B738-87E8E3013C2B}" dt="2025-06-30T03:29:48.793" v="2087"/>
          <ac:picMkLst>
            <pc:docMk/>
            <pc:sldMk cId="981236981" sldId="2147476274"/>
            <ac:picMk id="26" creationId="{96C127E2-53C7-CC2F-DE9E-1B6FBF6BAC97}"/>
          </ac:picMkLst>
        </pc:picChg>
        <pc:picChg chg="add del mod">
          <ac:chgData name="Iimura, Jinichi" userId="9e18df6b-b397-4f9f-a1c6-0abee7ae91a5" providerId="ADAL" clId="{8659CC36-693C-479B-B738-87E8E3013C2B}" dt="2025-06-30T07:17:24.949" v="3698" actId="478"/>
          <ac:picMkLst>
            <pc:docMk/>
            <pc:sldMk cId="981236981" sldId="2147476274"/>
            <ac:picMk id="27" creationId="{584186C2-74FD-053F-DBFB-1AE30507924D}"/>
          </ac:picMkLst>
        </pc:picChg>
        <pc:picChg chg="add del mod">
          <ac:chgData name="Iimura, Jinichi" userId="9e18df6b-b397-4f9f-a1c6-0abee7ae91a5" providerId="ADAL" clId="{8659CC36-693C-479B-B738-87E8E3013C2B}" dt="2025-06-30T03:33:28.746" v="2128" actId="478"/>
          <ac:picMkLst>
            <pc:docMk/>
            <pc:sldMk cId="981236981" sldId="2147476274"/>
            <ac:picMk id="29" creationId="{5AFCCC22-8B6E-F41D-5674-C9944CC0A3D4}"/>
          </ac:picMkLst>
        </pc:picChg>
        <pc:picChg chg="add mod">
          <ac:chgData name="Iimura, Jinichi" userId="9e18df6b-b397-4f9f-a1c6-0abee7ae91a5" providerId="ADAL" clId="{8659CC36-693C-479B-B738-87E8E3013C2B}" dt="2025-06-30T03:33:32.554" v="2131" actId="164"/>
          <ac:picMkLst>
            <pc:docMk/>
            <pc:sldMk cId="981236981" sldId="2147476274"/>
            <ac:picMk id="30" creationId="{CA68A2E3-37DE-FB06-57F5-D75303E86215}"/>
          </ac:picMkLst>
        </pc:picChg>
        <pc:picChg chg="add mod">
          <ac:chgData name="Iimura, Jinichi" userId="9e18df6b-b397-4f9f-a1c6-0abee7ae91a5" providerId="ADAL" clId="{8659CC36-693C-479B-B738-87E8E3013C2B}" dt="2025-06-30T03:33:32.554" v="2131" actId="164"/>
          <ac:picMkLst>
            <pc:docMk/>
            <pc:sldMk cId="981236981" sldId="2147476274"/>
            <ac:picMk id="39" creationId="{49A77553-467E-473C-E823-6731715CBEFD}"/>
          </ac:picMkLst>
        </pc:picChg>
        <pc:picChg chg="mod">
          <ac:chgData name="Iimura, Jinichi" userId="9e18df6b-b397-4f9f-a1c6-0abee7ae91a5" providerId="ADAL" clId="{8659CC36-693C-479B-B738-87E8E3013C2B}" dt="2025-06-30T07:17:33.236" v="3699"/>
          <ac:picMkLst>
            <pc:docMk/>
            <pc:sldMk cId="981236981" sldId="2147476274"/>
            <ac:picMk id="57" creationId="{88B49E9D-0D04-7E04-0B9F-BC8D4E7FB1BC}"/>
          </ac:picMkLst>
        </pc:picChg>
        <pc:picChg chg="mod">
          <ac:chgData name="Iimura, Jinichi" userId="9e18df6b-b397-4f9f-a1c6-0abee7ae91a5" providerId="ADAL" clId="{8659CC36-693C-479B-B738-87E8E3013C2B}" dt="2025-06-30T07:17:33.236" v="3699"/>
          <ac:picMkLst>
            <pc:docMk/>
            <pc:sldMk cId="981236981" sldId="2147476274"/>
            <ac:picMk id="58" creationId="{78E6E2CC-80C6-E3AB-3939-613AD453B1B9}"/>
          </ac:picMkLst>
        </pc:picChg>
        <pc:picChg chg="mod">
          <ac:chgData name="Iimura, Jinichi" userId="9e18df6b-b397-4f9f-a1c6-0abee7ae91a5" providerId="ADAL" clId="{8659CC36-693C-479B-B738-87E8E3013C2B}" dt="2025-06-30T07:17:33.236" v="3699"/>
          <ac:picMkLst>
            <pc:docMk/>
            <pc:sldMk cId="981236981" sldId="2147476274"/>
            <ac:picMk id="60" creationId="{22AF85CA-C029-6CA4-B0E0-BBAB54D20EB2}"/>
          </ac:picMkLst>
        </pc:picChg>
        <pc:picChg chg="mod">
          <ac:chgData name="Iimura, Jinichi" userId="9e18df6b-b397-4f9f-a1c6-0abee7ae91a5" providerId="ADAL" clId="{8659CC36-693C-479B-B738-87E8E3013C2B}" dt="2025-06-30T07:17:33.236" v="3699"/>
          <ac:picMkLst>
            <pc:docMk/>
            <pc:sldMk cId="981236981" sldId="2147476274"/>
            <ac:picMk id="61" creationId="{C84AA904-42D6-3C10-76C2-24D19590A5D9}"/>
          </ac:picMkLst>
        </pc:picChg>
        <pc:picChg chg="add del mod topLvl">
          <ac:chgData name="Iimura, Jinichi" userId="9e18df6b-b397-4f9f-a1c6-0abee7ae91a5" providerId="ADAL" clId="{8659CC36-693C-479B-B738-87E8E3013C2B}" dt="2025-07-02T12:45:26.618" v="13382" actId="1076"/>
          <ac:picMkLst>
            <pc:docMk/>
            <pc:sldMk cId="981236981" sldId="2147476274"/>
            <ac:picMk id="78" creationId="{C2FA359B-A634-83C5-DF28-6A50F9A34078}"/>
          </ac:picMkLst>
        </pc:picChg>
        <pc:picChg chg="mod topLvl">
          <ac:chgData name="Iimura, Jinichi" userId="9e18df6b-b397-4f9f-a1c6-0abee7ae91a5" providerId="ADAL" clId="{8659CC36-693C-479B-B738-87E8E3013C2B}" dt="2025-07-02T12:43:42.774" v="13223" actId="1076"/>
          <ac:picMkLst>
            <pc:docMk/>
            <pc:sldMk cId="981236981" sldId="2147476274"/>
            <ac:picMk id="79" creationId="{AD143393-A810-C124-3C73-A4C79190493B}"/>
          </ac:picMkLst>
        </pc:picChg>
        <pc:picChg chg="del mod topLvl">
          <ac:chgData name="Iimura, Jinichi" userId="9e18df6b-b397-4f9f-a1c6-0abee7ae91a5" providerId="ADAL" clId="{8659CC36-693C-479B-B738-87E8E3013C2B}" dt="2025-07-02T12:35:26.464" v="12938" actId="21"/>
          <ac:picMkLst>
            <pc:docMk/>
            <pc:sldMk cId="981236981" sldId="2147476274"/>
            <ac:picMk id="81" creationId="{945BC11A-EA86-7D08-0448-DE513290B024}"/>
          </ac:picMkLst>
        </pc:picChg>
        <pc:picChg chg="mod topLvl">
          <ac:chgData name="Iimura, Jinichi" userId="9e18df6b-b397-4f9f-a1c6-0abee7ae91a5" providerId="ADAL" clId="{8659CC36-693C-479B-B738-87E8E3013C2B}" dt="2025-07-02T12:43:42.774" v="13223" actId="1076"/>
          <ac:picMkLst>
            <pc:docMk/>
            <pc:sldMk cId="981236981" sldId="2147476274"/>
            <ac:picMk id="82" creationId="{1295256A-7454-BCA8-6479-8ADD4BF6E944}"/>
          </ac:picMkLst>
        </pc:picChg>
        <pc:picChg chg="add mod">
          <ac:chgData name="Iimura, Jinichi" userId="9e18df6b-b397-4f9f-a1c6-0abee7ae91a5" providerId="ADAL" clId="{8659CC36-693C-479B-B738-87E8E3013C2B}" dt="2025-06-30T07:19:41.671" v="3730"/>
          <ac:picMkLst>
            <pc:docMk/>
            <pc:sldMk cId="981236981" sldId="2147476274"/>
            <ac:picMk id="94" creationId="{313C690A-A9EA-1D57-7FE0-FE3B9A53220A}"/>
          </ac:picMkLst>
        </pc:picChg>
        <pc:picChg chg="add mod">
          <ac:chgData name="Iimura, Jinichi" userId="9e18df6b-b397-4f9f-a1c6-0abee7ae91a5" providerId="ADAL" clId="{8659CC36-693C-479B-B738-87E8E3013C2B}" dt="2025-06-30T07:19:41.671" v="3730"/>
          <ac:picMkLst>
            <pc:docMk/>
            <pc:sldMk cId="981236981" sldId="2147476274"/>
            <ac:picMk id="95" creationId="{24F67528-FBF0-73EB-6DE4-9E0286414971}"/>
          </ac:picMkLst>
        </pc:picChg>
        <pc:picChg chg="add mod">
          <ac:chgData name="Iimura, Jinichi" userId="9e18df6b-b397-4f9f-a1c6-0abee7ae91a5" providerId="ADAL" clId="{8659CC36-693C-479B-B738-87E8E3013C2B}" dt="2025-07-02T12:51:38.826" v="13405" actId="14100"/>
          <ac:picMkLst>
            <pc:docMk/>
            <pc:sldMk cId="981236981" sldId="2147476274"/>
            <ac:picMk id="105" creationId="{5743A812-D98F-979B-3EAB-5E5CE5AA588B}"/>
          </ac:picMkLst>
        </pc:picChg>
        <pc:cxnChg chg="mod">
          <ac:chgData name="Iimura, Jinichi" userId="9e18df6b-b397-4f9f-a1c6-0abee7ae91a5" providerId="ADAL" clId="{8659CC36-693C-479B-B738-87E8E3013C2B}" dt="2025-06-30T02:02:35.222" v="1240" actId="478"/>
          <ac:cxnSpMkLst>
            <pc:docMk/>
            <pc:sldMk cId="981236981" sldId="2147476274"/>
            <ac:cxnSpMk id="14" creationId="{F10F571C-D0AD-66FE-3042-772090E4B0EA}"/>
          </ac:cxnSpMkLst>
        </pc:cxnChg>
        <pc:cxnChg chg="add del mod">
          <ac:chgData name="Iimura, Jinichi" userId="9e18df6b-b397-4f9f-a1c6-0abee7ae91a5" providerId="ADAL" clId="{8659CC36-693C-479B-B738-87E8E3013C2B}" dt="2025-06-30T02:02:35.222" v="1240" actId="478"/>
          <ac:cxnSpMkLst>
            <pc:docMk/>
            <pc:sldMk cId="981236981" sldId="2147476274"/>
            <ac:cxnSpMk id="16" creationId="{D3294AEF-132B-EEC9-8CDD-F9A9B3615206}"/>
          </ac:cxnSpMkLst>
        </pc:cxnChg>
        <pc:cxnChg chg="mod">
          <ac:chgData name="Iimura, Jinichi" userId="9e18df6b-b397-4f9f-a1c6-0abee7ae91a5" providerId="ADAL" clId="{8659CC36-693C-479B-B738-87E8E3013C2B}" dt="2025-06-30T02:02:35.222" v="1240" actId="478"/>
          <ac:cxnSpMkLst>
            <pc:docMk/>
            <pc:sldMk cId="981236981" sldId="2147476274"/>
            <ac:cxnSpMk id="22" creationId="{026C6372-24E8-0C75-95F0-EC532F87C8E3}"/>
          </ac:cxnSpMkLst>
        </pc:cxnChg>
        <pc:cxnChg chg="mod">
          <ac:chgData name="Iimura, Jinichi" userId="9e18df6b-b397-4f9f-a1c6-0abee7ae91a5" providerId="ADAL" clId="{8659CC36-693C-479B-B738-87E8E3013C2B}" dt="2025-06-30T02:02:35.222" v="1240" actId="478"/>
          <ac:cxnSpMkLst>
            <pc:docMk/>
            <pc:sldMk cId="981236981" sldId="2147476274"/>
            <ac:cxnSpMk id="23" creationId="{C1CFC255-D82A-A91C-58F4-D31F804F78FB}"/>
          </ac:cxnSpMkLst>
        </pc:cxnChg>
        <pc:cxnChg chg="mod">
          <ac:chgData name="Iimura, Jinichi" userId="9e18df6b-b397-4f9f-a1c6-0abee7ae91a5" providerId="ADAL" clId="{8659CC36-693C-479B-B738-87E8E3013C2B}" dt="2025-06-30T02:02:35.222" v="1240" actId="478"/>
          <ac:cxnSpMkLst>
            <pc:docMk/>
            <pc:sldMk cId="981236981" sldId="2147476274"/>
            <ac:cxnSpMk id="24" creationId="{CC0F81B0-F524-0017-82F0-75A932D3C179}"/>
          </ac:cxnSpMkLst>
        </pc:cxnChg>
        <pc:cxnChg chg="mod">
          <ac:chgData name="Iimura, Jinichi" userId="9e18df6b-b397-4f9f-a1c6-0abee7ae91a5" providerId="ADAL" clId="{8659CC36-693C-479B-B738-87E8E3013C2B}" dt="2025-06-30T02:02:35.222" v="1240" actId="478"/>
          <ac:cxnSpMkLst>
            <pc:docMk/>
            <pc:sldMk cId="981236981" sldId="2147476274"/>
            <ac:cxnSpMk id="40" creationId="{E14BAE8A-E2AC-2C03-DC57-8EEEC2BDEA74}"/>
          </ac:cxnSpMkLst>
        </pc:cxnChg>
        <pc:cxnChg chg="mod">
          <ac:chgData name="Iimura, Jinichi" userId="9e18df6b-b397-4f9f-a1c6-0abee7ae91a5" providerId="ADAL" clId="{8659CC36-693C-479B-B738-87E8E3013C2B}" dt="2025-06-30T02:02:35.222" v="1240" actId="478"/>
          <ac:cxnSpMkLst>
            <pc:docMk/>
            <pc:sldMk cId="981236981" sldId="2147476274"/>
            <ac:cxnSpMk id="41" creationId="{5326B0FD-9676-0F12-3BF3-127EDECF4DEE}"/>
          </ac:cxnSpMkLst>
        </pc:cxnChg>
        <pc:cxnChg chg="mod">
          <ac:chgData name="Iimura, Jinichi" userId="9e18df6b-b397-4f9f-a1c6-0abee7ae91a5" providerId="ADAL" clId="{8659CC36-693C-479B-B738-87E8E3013C2B}" dt="2025-06-30T02:02:35.222" v="1240" actId="478"/>
          <ac:cxnSpMkLst>
            <pc:docMk/>
            <pc:sldMk cId="981236981" sldId="2147476274"/>
            <ac:cxnSpMk id="42" creationId="{86859C7E-7FD0-D7D3-97EE-D8740818B5EF}"/>
          </ac:cxnSpMkLst>
        </pc:cxnChg>
        <pc:cxnChg chg="mod">
          <ac:chgData name="Iimura, Jinichi" userId="9e18df6b-b397-4f9f-a1c6-0abee7ae91a5" providerId="ADAL" clId="{8659CC36-693C-479B-B738-87E8E3013C2B}" dt="2025-06-30T02:02:35.222" v="1240" actId="478"/>
          <ac:cxnSpMkLst>
            <pc:docMk/>
            <pc:sldMk cId="981236981" sldId="2147476274"/>
            <ac:cxnSpMk id="43" creationId="{DD12EB4E-0D15-3098-CB9D-4B2325F7BD60}"/>
          </ac:cxnSpMkLst>
        </pc:cxnChg>
        <pc:cxnChg chg="mod">
          <ac:chgData name="Iimura, Jinichi" userId="9e18df6b-b397-4f9f-a1c6-0abee7ae91a5" providerId="ADAL" clId="{8659CC36-693C-479B-B738-87E8E3013C2B}" dt="2025-06-30T02:02:35.222" v="1240" actId="478"/>
          <ac:cxnSpMkLst>
            <pc:docMk/>
            <pc:sldMk cId="981236981" sldId="2147476274"/>
            <ac:cxnSpMk id="44" creationId="{60CE68E1-BE05-80D2-8EB7-20022B79B704}"/>
          </ac:cxnSpMkLst>
        </pc:cxnChg>
        <pc:cxnChg chg="mod">
          <ac:chgData name="Iimura, Jinichi" userId="9e18df6b-b397-4f9f-a1c6-0abee7ae91a5" providerId="ADAL" clId="{8659CC36-693C-479B-B738-87E8E3013C2B}" dt="2025-06-30T02:02:35.222" v="1240" actId="478"/>
          <ac:cxnSpMkLst>
            <pc:docMk/>
            <pc:sldMk cId="981236981" sldId="2147476274"/>
            <ac:cxnSpMk id="45" creationId="{A50974C0-3B4F-637F-EAEC-FC5DA5C83881}"/>
          </ac:cxnSpMkLst>
        </pc:cxnChg>
        <pc:cxnChg chg="mod">
          <ac:chgData name="Iimura, Jinichi" userId="9e18df6b-b397-4f9f-a1c6-0abee7ae91a5" providerId="ADAL" clId="{8659CC36-693C-479B-B738-87E8E3013C2B}" dt="2025-06-30T02:02:35.222" v="1240" actId="478"/>
          <ac:cxnSpMkLst>
            <pc:docMk/>
            <pc:sldMk cId="981236981" sldId="2147476274"/>
            <ac:cxnSpMk id="46" creationId="{1ED8B4C6-B496-7772-D5C0-B7AD5058CF87}"/>
          </ac:cxnSpMkLst>
        </pc:cxnChg>
        <pc:cxnChg chg="mod">
          <ac:chgData name="Iimura, Jinichi" userId="9e18df6b-b397-4f9f-a1c6-0abee7ae91a5" providerId="ADAL" clId="{8659CC36-693C-479B-B738-87E8E3013C2B}" dt="2025-06-30T02:02:35.222" v="1240" actId="478"/>
          <ac:cxnSpMkLst>
            <pc:docMk/>
            <pc:sldMk cId="981236981" sldId="2147476274"/>
            <ac:cxnSpMk id="47" creationId="{28D9DABA-8289-845C-D8E4-14295979FE98}"/>
          </ac:cxnSpMkLst>
        </pc:cxnChg>
        <pc:cxnChg chg="mod">
          <ac:chgData name="Iimura, Jinichi" userId="9e18df6b-b397-4f9f-a1c6-0abee7ae91a5" providerId="ADAL" clId="{8659CC36-693C-479B-B738-87E8E3013C2B}" dt="2025-06-30T02:02:35.222" v="1240" actId="478"/>
          <ac:cxnSpMkLst>
            <pc:docMk/>
            <pc:sldMk cId="981236981" sldId="2147476274"/>
            <ac:cxnSpMk id="48" creationId="{3A69E3BD-B935-766C-40C5-6606D39A428D}"/>
          </ac:cxnSpMkLst>
        </pc:cxnChg>
        <pc:cxnChg chg="mod">
          <ac:chgData name="Iimura, Jinichi" userId="9e18df6b-b397-4f9f-a1c6-0abee7ae91a5" providerId="ADAL" clId="{8659CC36-693C-479B-B738-87E8E3013C2B}" dt="2025-06-30T02:02:35.222" v="1240" actId="478"/>
          <ac:cxnSpMkLst>
            <pc:docMk/>
            <pc:sldMk cId="981236981" sldId="2147476274"/>
            <ac:cxnSpMk id="49" creationId="{179D155F-F825-C8EE-D3CA-14D67684FD78}"/>
          </ac:cxnSpMkLst>
        </pc:cxnChg>
        <pc:cxnChg chg="mod">
          <ac:chgData name="Iimura, Jinichi" userId="9e18df6b-b397-4f9f-a1c6-0abee7ae91a5" providerId="ADAL" clId="{8659CC36-693C-479B-B738-87E8E3013C2B}" dt="2025-06-30T02:02:35.222" v="1240" actId="478"/>
          <ac:cxnSpMkLst>
            <pc:docMk/>
            <pc:sldMk cId="981236981" sldId="2147476274"/>
            <ac:cxnSpMk id="51" creationId="{3FF0DF12-3BFA-A0E3-B451-FDAC13264CEB}"/>
          </ac:cxnSpMkLst>
        </pc:cxnChg>
        <pc:cxnChg chg="mod">
          <ac:chgData name="Iimura, Jinichi" userId="9e18df6b-b397-4f9f-a1c6-0abee7ae91a5" providerId="ADAL" clId="{8659CC36-693C-479B-B738-87E8E3013C2B}" dt="2025-06-30T02:02:35.222" v="1240" actId="478"/>
          <ac:cxnSpMkLst>
            <pc:docMk/>
            <pc:sldMk cId="981236981" sldId="2147476274"/>
            <ac:cxnSpMk id="52" creationId="{7F848AFA-307C-DFBA-E4B6-55ED1A5F9F3E}"/>
          </ac:cxnSpMkLst>
        </pc:cxnChg>
        <pc:cxnChg chg="add del mod">
          <ac:chgData name="Iimura, Jinichi" userId="9e18df6b-b397-4f9f-a1c6-0abee7ae91a5" providerId="ADAL" clId="{8659CC36-693C-479B-B738-87E8E3013C2B}" dt="2025-06-30T02:02:35.222" v="1240" actId="478"/>
          <ac:cxnSpMkLst>
            <pc:docMk/>
            <pc:sldMk cId="981236981" sldId="2147476274"/>
            <ac:cxnSpMk id="53" creationId="{1F8EF0D7-25B6-B2B7-A0A3-65F999B4BBB4}"/>
          </ac:cxnSpMkLst>
        </pc:cxnChg>
        <pc:cxnChg chg="add del mod">
          <ac:chgData name="Iimura, Jinichi" userId="9e18df6b-b397-4f9f-a1c6-0abee7ae91a5" providerId="ADAL" clId="{8659CC36-693C-479B-B738-87E8E3013C2B}" dt="2025-06-30T02:02:35.222" v="1240" actId="478"/>
          <ac:cxnSpMkLst>
            <pc:docMk/>
            <pc:sldMk cId="981236981" sldId="2147476274"/>
            <ac:cxnSpMk id="54" creationId="{8D8F976A-8A31-9743-FFFD-47DB879400C1}"/>
          </ac:cxnSpMkLst>
        </pc:cxnChg>
        <pc:cxnChg chg="add del mod">
          <ac:chgData name="Iimura, Jinichi" userId="9e18df6b-b397-4f9f-a1c6-0abee7ae91a5" providerId="ADAL" clId="{8659CC36-693C-479B-B738-87E8E3013C2B}" dt="2025-06-30T02:02:35.222" v="1240" actId="478"/>
          <ac:cxnSpMkLst>
            <pc:docMk/>
            <pc:sldMk cId="981236981" sldId="2147476274"/>
            <ac:cxnSpMk id="63" creationId="{3C7D80C4-514F-66F9-3983-5323B434EBE8}"/>
          </ac:cxnSpMkLst>
        </pc:cxnChg>
      </pc:sldChg>
      <pc:sldChg chg="addSp delSp modSp mod">
        <pc:chgData name="Iimura, Jinichi" userId="9e18df6b-b397-4f9f-a1c6-0abee7ae91a5" providerId="ADAL" clId="{8659CC36-693C-479B-B738-87E8E3013C2B}" dt="2025-07-02T23:49:55.446" v="14135"/>
        <pc:sldMkLst>
          <pc:docMk/>
          <pc:sldMk cId="1652214018" sldId="2147476275"/>
        </pc:sldMkLst>
        <pc:spChg chg="mod">
          <ac:chgData name="Iimura, Jinichi" userId="9e18df6b-b397-4f9f-a1c6-0abee7ae91a5" providerId="ADAL" clId="{8659CC36-693C-479B-B738-87E8E3013C2B}" dt="2025-06-30T08:47:12.028" v="5972" actId="6549"/>
          <ac:spMkLst>
            <pc:docMk/>
            <pc:sldMk cId="1652214018" sldId="2147476275"/>
            <ac:spMk id="3" creationId="{251B3422-0C83-F0E0-CEB5-1398EC9D9C0C}"/>
          </ac:spMkLst>
        </pc:spChg>
        <pc:spChg chg="add del mod">
          <ac:chgData name="Iimura, Jinichi" userId="9e18df6b-b397-4f9f-a1c6-0abee7ae91a5" providerId="ADAL" clId="{8659CC36-693C-479B-B738-87E8E3013C2B}" dt="2025-06-30T06:24:18.255" v="2644" actId="478"/>
          <ac:spMkLst>
            <pc:docMk/>
            <pc:sldMk cId="1652214018" sldId="2147476275"/>
            <ac:spMk id="5" creationId="{CE842AC5-C647-BA0D-4F8D-DEFAA5361642}"/>
          </ac:spMkLst>
        </pc:spChg>
        <pc:spChg chg="add mod">
          <ac:chgData name="Iimura, Jinichi" userId="9e18df6b-b397-4f9f-a1c6-0abee7ae91a5" providerId="ADAL" clId="{8659CC36-693C-479B-B738-87E8E3013C2B}" dt="2025-07-02T23:49:55.446" v="14135"/>
          <ac:spMkLst>
            <pc:docMk/>
            <pc:sldMk cId="1652214018" sldId="2147476275"/>
            <ac:spMk id="6" creationId="{E3CEBE24-4411-7EC1-2AED-B58B586D888A}"/>
          </ac:spMkLst>
        </pc:spChg>
        <pc:spChg chg="add del mod">
          <ac:chgData name="Iimura, Jinichi" userId="9e18df6b-b397-4f9f-a1c6-0abee7ae91a5" providerId="ADAL" clId="{8659CC36-693C-479B-B738-87E8E3013C2B}" dt="2025-07-02T23:36:44.420" v="13723" actId="478"/>
          <ac:spMkLst>
            <pc:docMk/>
            <pc:sldMk cId="1652214018" sldId="2147476275"/>
            <ac:spMk id="8" creationId="{EB0C1F0C-60C2-8555-4B5F-EFD5E9961375}"/>
          </ac:spMkLst>
        </pc:spChg>
      </pc:sldChg>
      <pc:sldChg chg="addSp delSp modSp add mod">
        <pc:chgData name="Iimura, Jinichi" userId="9e18df6b-b397-4f9f-a1c6-0abee7ae91a5" providerId="ADAL" clId="{8659CC36-693C-479B-B738-87E8E3013C2B}" dt="2025-07-02T23:52:16.536" v="14152" actId="20577"/>
        <pc:sldMkLst>
          <pc:docMk/>
          <pc:sldMk cId="3113228091" sldId="2147476276"/>
        </pc:sldMkLst>
        <pc:spChg chg="mod ord">
          <ac:chgData name="Iimura, Jinichi" userId="9e18df6b-b397-4f9f-a1c6-0abee7ae91a5" providerId="ADAL" clId="{8659CC36-693C-479B-B738-87E8E3013C2B}" dt="2025-07-02T12:38:34.942" v="12986"/>
          <ac:spMkLst>
            <pc:docMk/>
            <pc:sldMk cId="3113228091" sldId="2147476276"/>
            <ac:spMk id="3" creationId="{251B3422-0C83-F0E0-CEB5-1398EC9D9C0C}"/>
          </ac:spMkLst>
        </pc:spChg>
        <pc:spChg chg="mod ord">
          <ac:chgData name="Iimura, Jinichi" userId="9e18df6b-b397-4f9f-a1c6-0abee7ae91a5" providerId="ADAL" clId="{8659CC36-693C-479B-B738-87E8E3013C2B}" dt="2025-07-02T12:38:34.941" v="12984"/>
          <ac:spMkLst>
            <pc:docMk/>
            <pc:sldMk cId="3113228091" sldId="2147476276"/>
            <ac:spMk id="4" creationId="{C0CD4ED1-0F74-83B6-F4AC-8C87103B97BF}"/>
          </ac:spMkLst>
        </pc:spChg>
        <pc:spChg chg="add mod">
          <ac:chgData name="Iimura, Jinichi" userId="9e18df6b-b397-4f9f-a1c6-0abee7ae91a5" providerId="ADAL" clId="{8659CC36-693C-479B-B738-87E8E3013C2B}" dt="2025-06-30T07:20:02.554" v="3734"/>
          <ac:spMkLst>
            <pc:docMk/>
            <pc:sldMk cId="3113228091" sldId="2147476276"/>
            <ac:spMk id="6" creationId="{2DF74AE9-4BF0-7648-7B00-4EF8C3AE2E80}"/>
          </ac:spMkLst>
        </pc:spChg>
        <pc:spChg chg="add mod">
          <ac:chgData name="Iimura, Jinichi" userId="9e18df6b-b397-4f9f-a1c6-0abee7ae91a5" providerId="ADAL" clId="{8659CC36-693C-479B-B738-87E8E3013C2B}" dt="2025-06-30T07:20:02.554" v="3734"/>
          <ac:spMkLst>
            <pc:docMk/>
            <pc:sldMk cId="3113228091" sldId="2147476276"/>
            <ac:spMk id="8" creationId="{46B3D798-4646-D615-2E9A-2908E67EE532}"/>
          </ac:spMkLst>
        </pc:spChg>
        <pc:spChg chg="add mod">
          <ac:chgData name="Iimura, Jinichi" userId="9e18df6b-b397-4f9f-a1c6-0abee7ae91a5" providerId="ADAL" clId="{8659CC36-693C-479B-B738-87E8E3013C2B}" dt="2025-06-30T07:20:02.554" v="3734"/>
          <ac:spMkLst>
            <pc:docMk/>
            <pc:sldMk cId="3113228091" sldId="2147476276"/>
            <ac:spMk id="9" creationId="{748B6DB2-6507-B69F-2B1D-AEEB8BFCAB84}"/>
          </ac:spMkLst>
        </pc:spChg>
        <pc:spChg chg="add mod">
          <ac:chgData name="Iimura, Jinichi" userId="9e18df6b-b397-4f9f-a1c6-0abee7ae91a5" providerId="ADAL" clId="{8659CC36-693C-479B-B738-87E8E3013C2B}" dt="2025-06-30T07:20:02.554" v="3734"/>
          <ac:spMkLst>
            <pc:docMk/>
            <pc:sldMk cId="3113228091" sldId="2147476276"/>
            <ac:spMk id="10" creationId="{22374131-5910-C441-96A8-BF535889404B}"/>
          </ac:spMkLst>
        </pc:spChg>
        <pc:spChg chg="add mod">
          <ac:chgData name="Iimura, Jinichi" userId="9e18df6b-b397-4f9f-a1c6-0abee7ae91a5" providerId="ADAL" clId="{8659CC36-693C-479B-B738-87E8E3013C2B}" dt="2025-06-30T07:20:02.554" v="3734"/>
          <ac:spMkLst>
            <pc:docMk/>
            <pc:sldMk cId="3113228091" sldId="2147476276"/>
            <ac:spMk id="11" creationId="{ABF13168-1D49-940B-7DBE-7CA0BFD19266}"/>
          </ac:spMkLst>
        </pc:spChg>
        <pc:spChg chg="add mod">
          <ac:chgData name="Iimura, Jinichi" userId="9e18df6b-b397-4f9f-a1c6-0abee7ae91a5" providerId="ADAL" clId="{8659CC36-693C-479B-B738-87E8E3013C2B}" dt="2025-06-30T07:20:02.554" v="3734"/>
          <ac:spMkLst>
            <pc:docMk/>
            <pc:sldMk cId="3113228091" sldId="2147476276"/>
            <ac:spMk id="12" creationId="{D87A9364-0765-3964-BAB9-07BD5A342230}"/>
          </ac:spMkLst>
        </pc:spChg>
        <pc:spChg chg="add mod">
          <ac:chgData name="Iimura, Jinichi" userId="9e18df6b-b397-4f9f-a1c6-0abee7ae91a5" providerId="ADAL" clId="{8659CC36-693C-479B-B738-87E8E3013C2B}" dt="2025-06-30T07:20:02.554" v="3734"/>
          <ac:spMkLst>
            <pc:docMk/>
            <pc:sldMk cId="3113228091" sldId="2147476276"/>
            <ac:spMk id="13" creationId="{9907E4E8-0152-BBE1-092C-6F670B09B5D1}"/>
          </ac:spMkLst>
        </pc:spChg>
        <pc:spChg chg="add mod">
          <ac:chgData name="Iimura, Jinichi" userId="9e18df6b-b397-4f9f-a1c6-0abee7ae91a5" providerId="ADAL" clId="{8659CC36-693C-479B-B738-87E8E3013C2B}" dt="2025-06-30T07:20:09.580" v="3735"/>
          <ac:spMkLst>
            <pc:docMk/>
            <pc:sldMk cId="3113228091" sldId="2147476276"/>
            <ac:spMk id="16" creationId="{FA95AA77-3CE3-5530-6C35-91809ABF894E}"/>
          </ac:spMkLst>
        </pc:spChg>
        <pc:spChg chg="add mod">
          <ac:chgData name="Iimura, Jinichi" userId="9e18df6b-b397-4f9f-a1c6-0abee7ae91a5" providerId="ADAL" clId="{8659CC36-693C-479B-B738-87E8E3013C2B}" dt="2025-06-30T07:20:09.580" v="3735"/>
          <ac:spMkLst>
            <pc:docMk/>
            <pc:sldMk cId="3113228091" sldId="2147476276"/>
            <ac:spMk id="17" creationId="{0888CC65-4EF4-B2C8-1964-567DD658EDA0}"/>
          </ac:spMkLst>
        </pc:spChg>
        <pc:spChg chg="add mod">
          <ac:chgData name="Iimura, Jinichi" userId="9e18df6b-b397-4f9f-a1c6-0abee7ae91a5" providerId="ADAL" clId="{8659CC36-693C-479B-B738-87E8E3013C2B}" dt="2025-06-30T07:20:09.580" v="3735"/>
          <ac:spMkLst>
            <pc:docMk/>
            <pc:sldMk cId="3113228091" sldId="2147476276"/>
            <ac:spMk id="18" creationId="{3C81B956-56ED-E7C7-2339-318156D94420}"/>
          </ac:spMkLst>
        </pc:spChg>
        <pc:spChg chg="add mod">
          <ac:chgData name="Iimura, Jinichi" userId="9e18df6b-b397-4f9f-a1c6-0abee7ae91a5" providerId="ADAL" clId="{8659CC36-693C-479B-B738-87E8E3013C2B}" dt="2025-06-30T07:20:09.580" v="3735"/>
          <ac:spMkLst>
            <pc:docMk/>
            <pc:sldMk cId="3113228091" sldId="2147476276"/>
            <ac:spMk id="19" creationId="{DFA90633-CA90-3E33-47E0-C704AF2AFF24}"/>
          </ac:spMkLst>
        </pc:spChg>
        <pc:spChg chg="add mod">
          <ac:chgData name="Iimura, Jinichi" userId="9e18df6b-b397-4f9f-a1c6-0abee7ae91a5" providerId="ADAL" clId="{8659CC36-693C-479B-B738-87E8E3013C2B}" dt="2025-06-30T07:20:09.580" v="3735"/>
          <ac:spMkLst>
            <pc:docMk/>
            <pc:sldMk cId="3113228091" sldId="2147476276"/>
            <ac:spMk id="20" creationId="{0C66D2D2-AA07-22E6-8956-45597488E0CD}"/>
          </ac:spMkLst>
        </pc:spChg>
        <pc:spChg chg="add mod">
          <ac:chgData name="Iimura, Jinichi" userId="9e18df6b-b397-4f9f-a1c6-0abee7ae91a5" providerId="ADAL" clId="{8659CC36-693C-479B-B738-87E8E3013C2B}" dt="2025-06-30T07:20:09.580" v="3735"/>
          <ac:spMkLst>
            <pc:docMk/>
            <pc:sldMk cId="3113228091" sldId="2147476276"/>
            <ac:spMk id="21" creationId="{B170BFD2-B834-A283-D7C6-87735CBB359A}"/>
          </ac:spMkLst>
        </pc:spChg>
        <pc:spChg chg="add mod">
          <ac:chgData name="Iimura, Jinichi" userId="9e18df6b-b397-4f9f-a1c6-0abee7ae91a5" providerId="ADAL" clId="{8659CC36-693C-479B-B738-87E8E3013C2B}" dt="2025-06-30T07:20:09.580" v="3735"/>
          <ac:spMkLst>
            <pc:docMk/>
            <pc:sldMk cId="3113228091" sldId="2147476276"/>
            <ac:spMk id="22" creationId="{BBDD5F51-4D67-BA45-A7EB-DA11EB5045A1}"/>
          </ac:spMkLst>
        </pc:spChg>
        <pc:spChg chg="add del mod ord topLvl">
          <ac:chgData name="Iimura, Jinichi" userId="9e18df6b-b397-4f9f-a1c6-0abee7ae91a5" providerId="ADAL" clId="{8659CC36-693C-479B-B738-87E8E3013C2B}" dt="2025-07-02T12:38:50.224" v="13021" actId="478"/>
          <ac:spMkLst>
            <pc:docMk/>
            <pc:sldMk cId="3113228091" sldId="2147476276"/>
            <ac:spMk id="25" creationId="{0CD750F5-E3CB-4EA2-5BB2-32AFA06CD271}"/>
          </ac:spMkLst>
        </pc:spChg>
        <pc:spChg chg="add del mod ord topLvl">
          <ac:chgData name="Iimura, Jinichi" userId="9e18df6b-b397-4f9f-a1c6-0abee7ae91a5" providerId="ADAL" clId="{8659CC36-693C-479B-B738-87E8E3013C2B}" dt="2025-07-02T12:38:46.064" v="13018" actId="478"/>
          <ac:spMkLst>
            <pc:docMk/>
            <pc:sldMk cId="3113228091" sldId="2147476276"/>
            <ac:spMk id="26" creationId="{F17A776B-3099-93C5-F8E4-1623E211B252}"/>
          </ac:spMkLst>
        </pc:spChg>
        <pc:spChg chg="add mod ord topLvl">
          <ac:chgData name="Iimura, Jinichi" userId="9e18df6b-b397-4f9f-a1c6-0abee7ae91a5" providerId="ADAL" clId="{8659CC36-693C-479B-B738-87E8E3013C2B}" dt="2025-07-02T12:52:07.036" v="13410" actId="14100"/>
          <ac:spMkLst>
            <pc:docMk/>
            <pc:sldMk cId="3113228091" sldId="2147476276"/>
            <ac:spMk id="27" creationId="{33C28B48-7D7F-8DE1-DB03-ABE7BD6C8C24}"/>
          </ac:spMkLst>
        </pc:spChg>
        <pc:spChg chg="mod ord">
          <ac:chgData name="Iimura, Jinichi" userId="9e18df6b-b397-4f9f-a1c6-0abee7ae91a5" providerId="ADAL" clId="{8659CC36-693C-479B-B738-87E8E3013C2B}" dt="2025-07-02T12:38:34.942" v="12988"/>
          <ac:spMkLst>
            <pc:docMk/>
            <pc:sldMk cId="3113228091" sldId="2147476276"/>
            <ac:spMk id="28" creationId="{B45C7C43-84BC-EB68-B34A-AAE39F6D8E9C}"/>
          </ac:spMkLst>
        </pc:spChg>
        <pc:spChg chg="add mod ord topLvl">
          <ac:chgData name="Iimura, Jinichi" userId="9e18df6b-b397-4f9f-a1c6-0abee7ae91a5" providerId="ADAL" clId="{8659CC36-693C-479B-B738-87E8E3013C2B}" dt="2025-07-02T12:52:10.708" v="13412" actId="14100"/>
          <ac:spMkLst>
            <pc:docMk/>
            <pc:sldMk cId="3113228091" sldId="2147476276"/>
            <ac:spMk id="29" creationId="{BA78ADCD-AFEE-9013-2051-A4AE1052BDF0}"/>
          </ac:spMkLst>
        </pc:spChg>
        <pc:spChg chg="add mod ord topLvl">
          <ac:chgData name="Iimura, Jinichi" userId="9e18df6b-b397-4f9f-a1c6-0abee7ae91a5" providerId="ADAL" clId="{8659CC36-693C-479B-B738-87E8E3013C2B}" dt="2025-07-02T12:39:38.146" v="13026" actId="14100"/>
          <ac:spMkLst>
            <pc:docMk/>
            <pc:sldMk cId="3113228091" sldId="2147476276"/>
            <ac:spMk id="30" creationId="{3448C59E-558C-342D-EA1A-7AE67789B08F}"/>
          </ac:spMkLst>
        </pc:spChg>
        <pc:spChg chg="add mod ord topLvl">
          <ac:chgData name="Iimura, Jinichi" userId="9e18df6b-b397-4f9f-a1c6-0abee7ae91a5" providerId="ADAL" clId="{8659CC36-693C-479B-B738-87E8E3013C2B}" dt="2025-07-02T12:39:41.894" v="13027" actId="1076"/>
          <ac:spMkLst>
            <pc:docMk/>
            <pc:sldMk cId="3113228091" sldId="2147476276"/>
            <ac:spMk id="31" creationId="{D37B6B79-C61D-5F76-895C-94CB6A689E20}"/>
          </ac:spMkLst>
        </pc:spChg>
        <pc:spChg chg="add del mod">
          <ac:chgData name="Iimura, Jinichi" userId="9e18df6b-b397-4f9f-a1c6-0abee7ae91a5" providerId="ADAL" clId="{8659CC36-693C-479B-B738-87E8E3013C2B}" dt="2025-06-30T07:20:16.124" v="3738" actId="478"/>
          <ac:spMkLst>
            <pc:docMk/>
            <pc:sldMk cId="3113228091" sldId="2147476276"/>
            <ac:spMk id="32" creationId="{027573BA-1034-417F-1F22-4BABDE222A51}"/>
          </ac:spMkLst>
        </pc:spChg>
        <pc:spChg chg="add mod ord">
          <ac:chgData name="Iimura, Jinichi" userId="9e18df6b-b397-4f9f-a1c6-0abee7ae91a5" providerId="ADAL" clId="{8659CC36-693C-479B-B738-87E8E3013C2B}" dt="2025-07-02T12:51:58.296" v="13409" actId="14100"/>
          <ac:spMkLst>
            <pc:docMk/>
            <pc:sldMk cId="3113228091" sldId="2147476276"/>
            <ac:spMk id="35" creationId="{56473014-D166-E9CA-FC1F-46A765F381A0}"/>
          </ac:spMkLst>
        </pc:spChg>
        <pc:spChg chg="add mod ord">
          <ac:chgData name="Iimura, Jinichi" userId="9e18df6b-b397-4f9f-a1c6-0abee7ae91a5" providerId="ADAL" clId="{8659CC36-693C-479B-B738-87E8E3013C2B}" dt="2025-07-02T12:38:40.318" v="13017" actId="14100"/>
          <ac:spMkLst>
            <pc:docMk/>
            <pc:sldMk cId="3113228091" sldId="2147476276"/>
            <ac:spMk id="36" creationId="{9F0CADBE-6645-4BA8-A73A-5B462BF8A346}"/>
          </ac:spMkLst>
        </pc:spChg>
        <pc:spChg chg="add del mod">
          <ac:chgData name="Iimura, Jinichi" userId="9e18df6b-b397-4f9f-a1c6-0abee7ae91a5" providerId="ADAL" clId="{8659CC36-693C-479B-B738-87E8E3013C2B}" dt="2025-07-02T12:38:06.010" v="12973" actId="478"/>
          <ac:spMkLst>
            <pc:docMk/>
            <pc:sldMk cId="3113228091" sldId="2147476276"/>
            <ac:spMk id="39" creationId="{758E4E68-6AEE-8FCC-389D-41F52CBBD133}"/>
          </ac:spMkLst>
        </pc:spChg>
        <pc:spChg chg="add del mod">
          <ac:chgData name="Iimura, Jinichi" userId="9e18df6b-b397-4f9f-a1c6-0abee7ae91a5" providerId="ADAL" clId="{8659CC36-693C-479B-B738-87E8E3013C2B}" dt="2025-07-02T12:38:08.216" v="12974" actId="478"/>
          <ac:spMkLst>
            <pc:docMk/>
            <pc:sldMk cId="3113228091" sldId="2147476276"/>
            <ac:spMk id="40" creationId="{D61A664F-79BF-BB44-D61E-28A9EB8E096B}"/>
          </ac:spMkLst>
        </pc:spChg>
        <pc:spChg chg="add mod">
          <ac:chgData name="Iimura, Jinichi" userId="9e18df6b-b397-4f9f-a1c6-0abee7ae91a5" providerId="ADAL" clId="{8659CC36-693C-479B-B738-87E8E3013C2B}" dt="2025-07-02T12:52:13.566" v="13413" actId="14100"/>
          <ac:spMkLst>
            <pc:docMk/>
            <pc:sldMk cId="3113228091" sldId="2147476276"/>
            <ac:spMk id="44" creationId="{0362D60C-DFD7-DF1F-AC72-237853166EE4}"/>
          </ac:spMkLst>
        </pc:spChg>
        <pc:spChg chg="add mod">
          <ac:chgData name="Iimura, Jinichi" userId="9e18df6b-b397-4f9f-a1c6-0abee7ae91a5" providerId="ADAL" clId="{8659CC36-693C-479B-B738-87E8E3013C2B}" dt="2025-07-02T12:42:12.774" v="13203" actId="20577"/>
          <ac:spMkLst>
            <pc:docMk/>
            <pc:sldMk cId="3113228091" sldId="2147476276"/>
            <ac:spMk id="45" creationId="{5ED54640-6990-916B-D432-8CB228DC646D}"/>
          </ac:spMkLst>
        </pc:spChg>
        <pc:spChg chg="del mod topLvl">
          <ac:chgData name="Iimura, Jinichi" userId="9e18df6b-b397-4f9f-a1c6-0abee7ae91a5" providerId="ADAL" clId="{8659CC36-693C-479B-B738-87E8E3013C2B}" dt="2025-06-30T07:19:54.938" v="3733" actId="478"/>
          <ac:spMkLst>
            <pc:docMk/>
            <pc:sldMk cId="3113228091" sldId="2147476276"/>
            <ac:spMk id="83" creationId="{75A62634-CEF8-8768-F6D3-E5751EF29FC1}"/>
          </ac:spMkLst>
        </pc:spChg>
        <pc:spChg chg="del mod topLvl">
          <ac:chgData name="Iimura, Jinichi" userId="9e18df6b-b397-4f9f-a1c6-0abee7ae91a5" providerId="ADAL" clId="{8659CC36-693C-479B-B738-87E8E3013C2B}" dt="2025-06-30T07:19:54.938" v="3733" actId="478"/>
          <ac:spMkLst>
            <pc:docMk/>
            <pc:sldMk cId="3113228091" sldId="2147476276"/>
            <ac:spMk id="84" creationId="{881F402C-1876-F446-7685-26DD30711013}"/>
          </ac:spMkLst>
        </pc:spChg>
        <pc:spChg chg="del mod topLvl">
          <ac:chgData name="Iimura, Jinichi" userId="9e18df6b-b397-4f9f-a1c6-0abee7ae91a5" providerId="ADAL" clId="{8659CC36-693C-479B-B738-87E8E3013C2B}" dt="2025-06-30T07:19:54.938" v="3733" actId="478"/>
          <ac:spMkLst>
            <pc:docMk/>
            <pc:sldMk cId="3113228091" sldId="2147476276"/>
            <ac:spMk id="85" creationId="{1919DEAA-049E-D375-9F18-87C299672303}"/>
          </ac:spMkLst>
        </pc:spChg>
        <pc:spChg chg="del mod topLvl">
          <ac:chgData name="Iimura, Jinichi" userId="9e18df6b-b397-4f9f-a1c6-0abee7ae91a5" providerId="ADAL" clId="{8659CC36-693C-479B-B738-87E8E3013C2B}" dt="2025-06-30T07:19:54.938" v="3733" actId="478"/>
          <ac:spMkLst>
            <pc:docMk/>
            <pc:sldMk cId="3113228091" sldId="2147476276"/>
            <ac:spMk id="86" creationId="{A734A665-A87D-F11B-F2AE-D85B2477CFA5}"/>
          </ac:spMkLst>
        </pc:spChg>
        <pc:spChg chg="del mod topLvl">
          <ac:chgData name="Iimura, Jinichi" userId="9e18df6b-b397-4f9f-a1c6-0abee7ae91a5" providerId="ADAL" clId="{8659CC36-693C-479B-B738-87E8E3013C2B}" dt="2025-06-30T07:19:54.938" v="3733" actId="478"/>
          <ac:spMkLst>
            <pc:docMk/>
            <pc:sldMk cId="3113228091" sldId="2147476276"/>
            <ac:spMk id="87" creationId="{4A02E4AC-8958-FCC4-F0B2-3893ACA676B8}"/>
          </ac:spMkLst>
        </pc:spChg>
        <pc:spChg chg="del mod topLvl">
          <ac:chgData name="Iimura, Jinichi" userId="9e18df6b-b397-4f9f-a1c6-0abee7ae91a5" providerId="ADAL" clId="{8659CC36-693C-479B-B738-87E8E3013C2B}" dt="2025-06-30T07:19:54.938" v="3733" actId="478"/>
          <ac:spMkLst>
            <pc:docMk/>
            <pc:sldMk cId="3113228091" sldId="2147476276"/>
            <ac:spMk id="88" creationId="{75EC14CE-9952-A8DE-0D58-569B0AC2B836}"/>
          </ac:spMkLst>
        </pc:spChg>
        <pc:spChg chg="del mod topLvl">
          <ac:chgData name="Iimura, Jinichi" userId="9e18df6b-b397-4f9f-a1c6-0abee7ae91a5" providerId="ADAL" clId="{8659CC36-693C-479B-B738-87E8E3013C2B}" dt="2025-06-30T07:19:54.938" v="3733" actId="478"/>
          <ac:spMkLst>
            <pc:docMk/>
            <pc:sldMk cId="3113228091" sldId="2147476276"/>
            <ac:spMk id="89" creationId="{56473014-D166-E9CA-FC1F-46A765F381A0}"/>
          </ac:spMkLst>
        </pc:spChg>
        <pc:spChg chg="del mod topLvl">
          <ac:chgData name="Iimura, Jinichi" userId="9e18df6b-b397-4f9f-a1c6-0abee7ae91a5" providerId="ADAL" clId="{8659CC36-693C-479B-B738-87E8E3013C2B}" dt="2025-06-30T07:19:54.938" v="3733" actId="478"/>
          <ac:spMkLst>
            <pc:docMk/>
            <pc:sldMk cId="3113228091" sldId="2147476276"/>
            <ac:spMk id="90" creationId="{9F0CADBE-6645-4BA8-A73A-5B462BF8A346}"/>
          </ac:spMkLst>
        </pc:spChg>
        <pc:spChg chg="mod ord topLvl">
          <ac:chgData name="Iimura, Jinichi" userId="9e18df6b-b397-4f9f-a1c6-0abee7ae91a5" providerId="ADAL" clId="{8659CC36-693C-479B-B738-87E8E3013C2B}" dt="2025-07-02T23:52:16.536" v="14152" actId="20577"/>
          <ac:spMkLst>
            <pc:docMk/>
            <pc:sldMk cId="3113228091" sldId="2147476276"/>
            <ac:spMk id="91" creationId="{6CE6E245-6D90-A273-F2A0-D60BE5CDAECB}"/>
          </ac:spMkLst>
        </pc:spChg>
        <pc:spChg chg="mod ord topLvl">
          <ac:chgData name="Iimura, Jinichi" userId="9e18df6b-b397-4f9f-a1c6-0abee7ae91a5" providerId="ADAL" clId="{8659CC36-693C-479B-B738-87E8E3013C2B}" dt="2025-07-02T12:38:34.944" v="12992"/>
          <ac:spMkLst>
            <pc:docMk/>
            <pc:sldMk cId="3113228091" sldId="2147476276"/>
            <ac:spMk id="92" creationId="{FB29D3D2-993B-758A-AE64-338460FA6218}"/>
          </ac:spMkLst>
        </pc:spChg>
        <pc:grpChg chg="add del mod">
          <ac:chgData name="Iimura, Jinichi" userId="9e18df6b-b397-4f9f-a1c6-0abee7ae91a5" providerId="ADAL" clId="{8659CC36-693C-479B-B738-87E8E3013C2B}" dt="2025-07-02T12:36:09.754" v="12943" actId="165"/>
          <ac:grpSpMkLst>
            <pc:docMk/>
            <pc:sldMk cId="3113228091" sldId="2147476276"/>
            <ac:grpSpMk id="33" creationId="{2103FB14-5E52-5668-94A0-A9FED5DCB459}"/>
          </ac:grpSpMkLst>
        </pc:grpChg>
        <pc:grpChg chg="add del mod">
          <ac:chgData name="Iimura, Jinichi" userId="9e18df6b-b397-4f9f-a1c6-0abee7ae91a5" providerId="ADAL" clId="{8659CC36-693C-479B-B738-87E8E3013C2B}" dt="2025-07-02T12:36:48.072" v="12952" actId="165"/>
          <ac:grpSpMkLst>
            <pc:docMk/>
            <pc:sldMk cId="3113228091" sldId="2147476276"/>
            <ac:grpSpMk id="37" creationId="{821FA3FF-D905-7773-8B47-E2504F5430AA}"/>
          </ac:grpSpMkLst>
        </pc:grpChg>
        <pc:grpChg chg="add mod">
          <ac:chgData name="Iimura, Jinichi" userId="9e18df6b-b397-4f9f-a1c6-0abee7ae91a5" providerId="ADAL" clId="{8659CC36-693C-479B-B738-87E8E3013C2B}" dt="2025-07-02T12:52:34.205" v="13440" actId="14100"/>
          <ac:grpSpMkLst>
            <pc:docMk/>
            <pc:sldMk cId="3113228091" sldId="2147476276"/>
            <ac:grpSpMk id="43" creationId="{01C20F29-2C08-8806-F1ED-A6637D44ABE3}"/>
          </ac:grpSpMkLst>
        </pc:grpChg>
        <pc:grpChg chg="del mod topLvl">
          <ac:chgData name="Iimura, Jinichi" userId="9e18df6b-b397-4f9f-a1c6-0abee7ae91a5" providerId="ADAL" clId="{8659CC36-693C-479B-B738-87E8E3013C2B}" dt="2025-06-30T07:19:54.938" v="3733" actId="478"/>
          <ac:grpSpMkLst>
            <pc:docMk/>
            <pc:sldMk cId="3113228091" sldId="2147476276"/>
            <ac:grpSpMk id="77" creationId="{429718CD-5108-48A1-8C03-979363C1BC36}"/>
          </ac:grpSpMkLst>
        </pc:grpChg>
        <pc:grpChg chg="del mod topLvl">
          <ac:chgData name="Iimura, Jinichi" userId="9e18df6b-b397-4f9f-a1c6-0abee7ae91a5" providerId="ADAL" clId="{8659CC36-693C-479B-B738-87E8E3013C2B}" dt="2025-06-30T07:19:54.938" v="3733" actId="478"/>
          <ac:grpSpMkLst>
            <pc:docMk/>
            <pc:sldMk cId="3113228091" sldId="2147476276"/>
            <ac:grpSpMk id="80" creationId="{0C6A1D51-C7BA-CFF2-A7C9-323DE9E85695}"/>
          </ac:grpSpMkLst>
        </pc:grpChg>
        <pc:grpChg chg="del">
          <ac:chgData name="Iimura, Jinichi" userId="9e18df6b-b397-4f9f-a1c6-0abee7ae91a5" providerId="ADAL" clId="{8659CC36-693C-479B-B738-87E8E3013C2B}" dt="2025-06-30T07:19:50.119" v="3732" actId="165"/>
          <ac:grpSpMkLst>
            <pc:docMk/>
            <pc:sldMk cId="3113228091" sldId="2147476276"/>
            <ac:grpSpMk id="93" creationId="{7D71067C-E97E-4CCA-F883-1E0105700641}"/>
          </ac:grpSpMkLst>
        </pc:grpChg>
        <pc:graphicFrameChg chg="mod">
          <ac:chgData name="Iimura, Jinichi" userId="9e18df6b-b397-4f9f-a1c6-0abee7ae91a5" providerId="ADAL" clId="{8659CC36-693C-479B-B738-87E8E3013C2B}" dt="2025-07-02T12:38:34.951" v="13016"/>
          <ac:graphicFrameMkLst>
            <pc:docMk/>
            <pc:sldMk cId="3113228091" sldId="2147476276"/>
            <ac:graphicFrameMk id="7" creationId="{2A84D1DA-97ED-2719-33EF-A13650BDF72A}"/>
          </ac:graphicFrameMkLst>
        </pc:graphicFrameChg>
        <pc:picChg chg="add mod">
          <ac:chgData name="Iimura, Jinichi" userId="9e18df6b-b397-4f9f-a1c6-0abee7ae91a5" providerId="ADAL" clId="{8659CC36-693C-479B-B738-87E8E3013C2B}" dt="2025-06-30T07:20:02.554" v="3734"/>
          <ac:picMkLst>
            <pc:docMk/>
            <pc:sldMk cId="3113228091" sldId="2147476276"/>
            <ac:picMk id="2" creationId="{BBD0B52B-9DA6-7D4F-0C76-2BA02588905F}"/>
          </ac:picMkLst>
        </pc:picChg>
        <pc:picChg chg="add mod">
          <ac:chgData name="Iimura, Jinichi" userId="9e18df6b-b397-4f9f-a1c6-0abee7ae91a5" providerId="ADAL" clId="{8659CC36-693C-479B-B738-87E8E3013C2B}" dt="2025-06-30T07:20:02.554" v="3734"/>
          <ac:picMkLst>
            <pc:docMk/>
            <pc:sldMk cId="3113228091" sldId="2147476276"/>
            <ac:picMk id="5" creationId="{178CB6D6-CEF8-E557-2BC5-D35818BC294B}"/>
          </ac:picMkLst>
        </pc:picChg>
        <pc:picChg chg="add mod">
          <ac:chgData name="Iimura, Jinichi" userId="9e18df6b-b397-4f9f-a1c6-0abee7ae91a5" providerId="ADAL" clId="{8659CC36-693C-479B-B738-87E8E3013C2B}" dt="2025-06-30T07:20:09.580" v="3735"/>
          <ac:picMkLst>
            <pc:docMk/>
            <pc:sldMk cId="3113228091" sldId="2147476276"/>
            <ac:picMk id="14" creationId="{3FD75077-C872-8DC2-99EE-ECAB92551975}"/>
          </ac:picMkLst>
        </pc:picChg>
        <pc:picChg chg="add mod">
          <ac:chgData name="Iimura, Jinichi" userId="9e18df6b-b397-4f9f-a1c6-0abee7ae91a5" providerId="ADAL" clId="{8659CC36-693C-479B-B738-87E8E3013C2B}" dt="2025-06-30T07:20:09.580" v="3735"/>
          <ac:picMkLst>
            <pc:docMk/>
            <pc:sldMk cId="3113228091" sldId="2147476276"/>
            <ac:picMk id="15" creationId="{98DCC6CD-FFD2-AE03-AE70-04339BBA88B1}"/>
          </ac:picMkLst>
        </pc:picChg>
        <pc:picChg chg="add del mod ord topLvl modCrop">
          <ac:chgData name="Iimura, Jinichi" userId="9e18df6b-b397-4f9f-a1c6-0abee7ae91a5" providerId="ADAL" clId="{8659CC36-693C-479B-B738-87E8E3013C2B}" dt="2025-07-02T12:39:38.146" v="13026" actId="14100"/>
          <ac:picMkLst>
            <pc:docMk/>
            <pc:sldMk cId="3113228091" sldId="2147476276"/>
            <ac:picMk id="23" creationId="{C31E846A-07EE-3E2C-D63B-FD087572E5FA}"/>
          </ac:picMkLst>
        </pc:picChg>
        <pc:picChg chg="add mod ord topLvl">
          <ac:chgData name="Iimura, Jinichi" userId="9e18df6b-b397-4f9f-a1c6-0abee7ae91a5" providerId="ADAL" clId="{8659CC36-693C-479B-B738-87E8E3013C2B}" dt="2025-07-02T12:39:41.894" v="13027" actId="1076"/>
          <ac:picMkLst>
            <pc:docMk/>
            <pc:sldMk cId="3113228091" sldId="2147476276"/>
            <ac:picMk id="24" creationId="{F255EA3F-4A23-7B42-7DB3-046DA39E78EC}"/>
          </ac:picMkLst>
        </pc:picChg>
        <pc:picChg chg="add mod ord">
          <ac:chgData name="Iimura, Jinichi" userId="9e18df6b-b397-4f9f-a1c6-0abee7ae91a5" providerId="ADAL" clId="{8659CC36-693C-479B-B738-87E8E3013C2B}" dt="2025-07-02T12:38:34.949" v="13010"/>
          <ac:picMkLst>
            <pc:docMk/>
            <pc:sldMk cId="3113228091" sldId="2147476276"/>
            <ac:picMk id="34" creationId="{945BC11A-EA86-7D08-0448-DE513290B024}"/>
          </ac:picMkLst>
        </pc:picChg>
        <pc:picChg chg="add mod ord modCrop">
          <ac:chgData name="Iimura, Jinichi" userId="9e18df6b-b397-4f9f-a1c6-0abee7ae91a5" providerId="ADAL" clId="{8659CC36-693C-479B-B738-87E8E3013C2B}" dt="2025-07-02T12:39:19.620" v="13024" actId="14100"/>
          <ac:picMkLst>
            <pc:docMk/>
            <pc:sldMk cId="3113228091" sldId="2147476276"/>
            <ac:picMk id="38" creationId="{E81242F2-58EA-6F6C-33AD-4A3F9EE2BB68}"/>
          </ac:picMkLst>
        </pc:picChg>
        <pc:picChg chg="add mod">
          <ac:chgData name="Iimura, Jinichi" userId="9e18df6b-b397-4f9f-a1c6-0abee7ae91a5" providerId="ADAL" clId="{8659CC36-693C-479B-B738-87E8E3013C2B}" dt="2025-07-02T12:40:05.194" v="13033" actId="164"/>
          <ac:picMkLst>
            <pc:docMk/>
            <pc:sldMk cId="3113228091" sldId="2147476276"/>
            <ac:picMk id="41" creationId="{478A04E9-4BF2-F6FC-C1EE-C3DF6E283A9B}"/>
          </ac:picMkLst>
        </pc:picChg>
        <pc:picChg chg="add mod">
          <ac:chgData name="Iimura, Jinichi" userId="9e18df6b-b397-4f9f-a1c6-0abee7ae91a5" providerId="ADAL" clId="{8659CC36-693C-479B-B738-87E8E3013C2B}" dt="2025-07-02T12:40:05.194" v="13033" actId="164"/>
          <ac:picMkLst>
            <pc:docMk/>
            <pc:sldMk cId="3113228091" sldId="2147476276"/>
            <ac:picMk id="42" creationId="{22BA5C1D-5E48-44BD-FC49-4A753255DB8A}"/>
          </ac:picMkLst>
        </pc:picChg>
        <pc:picChg chg="mod">
          <ac:chgData name="Iimura, Jinichi" userId="9e18df6b-b397-4f9f-a1c6-0abee7ae91a5" providerId="ADAL" clId="{8659CC36-693C-479B-B738-87E8E3013C2B}" dt="2025-06-30T07:19:50.119" v="3732" actId="165"/>
          <ac:picMkLst>
            <pc:docMk/>
            <pc:sldMk cId="3113228091" sldId="2147476276"/>
            <ac:picMk id="78" creationId="{C2FA359B-A634-83C5-DF28-6A50F9A34078}"/>
          </ac:picMkLst>
        </pc:picChg>
        <pc:picChg chg="mod">
          <ac:chgData name="Iimura, Jinichi" userId="9e18df6b-b397-4f9f-a1c6-0abee7ae91a5" providerId="ADAL" clId="{8659CC36-693C-479B-B738-87E8E3013C2B}" dt="2025-06-30T07:19:50.119" v="3732" actId="165"/>
          <ac:picMkLst>
            <pc:docMk/>
            <pc:sldMk cId="3113228091" sldId="2147476276"/>
            <ac:picMk id="79" creationId="{AD143393-A810-C124-3C73-A4C79190493B}"/>
          </ac:picMkLst>
        </pc:picChg>
        <pc:picChg chg="mod">
          <ac:chgData name="Iimura, Jinichi" userId="9e18df6b-b397-4f9f-a1c6-0abee7ae91a5" providerId="ADAL" clId="{8659CC36-693C-479B-B738-87E8E3013C2B}" dt="2025-06-30T07:19:50.119" v="3732" actId="165"/>
          <ac:picMkLst>
            <pc:docMk/>
            <pc:sldMk cId="3113228091" sldId="2147476276"/>
            <ac:picMk id="81" creationId="{945BC11A-EA86-7D08-0448-DE513290B024}"/>
          </ac:picMkLst>
        </pc:picChg>
        <pc:picChg chg="mod">
          <ac:chgData name="Iimura, Jinichi" userId="9e18df6b-b397-4f9f-a1c6-0abee7ae91a5" providerId="ADAL" clId="{8659CC36-693C-479B-B738-87E8E3013C2B}" dt="2025-06-30T07:19:50.119" v="3732" actId="165"/>
          <ac:picMkLst>
            <pc:docMk/>
            <pc:sldMk cId="3113228091" sldId="2147476276"/>
            <ac:picMk id="82" creationId="{1295256A-7454-BCA8-6479-8ADD4BF6E944}"/>
          </ac:picMkLst>
        </pc:picChg>
      </pc:sldChg>
      <pc:sldChg chg="delSp modSp add mod">
        <pc:chgData name="Iimura, Jinichi" userId="9e18df6b-b397-4f9f-a1c6-0abee7ae91a5" providerId="ADAL" clId="{8659CC36-693C-479B-B738-87E8E3013C2B}" dt="2025-07-03T02:37:04.819" v="14261" actId="20577"/>
        <pc:sldMkLst>
          <pc:docMk/>
          <pc:sldMk cId="148434690" sldId="2147476277"/>
        </pc:sldMkLst>
        <pc:spChg chg="mod">
          <ac:chgData name="Iimura, Jinichi" userId="9e18df6b-b397-4f9f-a1c6-0abee7ae91a5" providerId="ADAL" clId="{8659CC36-693C-479B-B738-87E8E3013C2B}" dt="2025-07-03T02:37:04.819" v="14261" actId="20577"/>
          <ac:spMkLst>
            <pc:docMk/>
            <pc:sldMk cId="148434690" sldId="2147476277"/>
            <ac:spMk id="5" creationId="{CA9AD951-AB0A-F544-7224-4DC94CDD3179}"/>
          </ac:spMkLst>
        </pc:spChg>
        <pc:graphicFrameChg chg="del">
          <ac:chgData name="Iimura, Jinichi" userId="9e18df6b-b397-4f9f-a1c6-0abee7ae91a5" providerId="ADAL" clId="{8659CC36-693C-479B-B738-87E8E3013C2B}" dt="2025-06-30T07:35:59.451" v="3980" actId="478"/>
          <ac:graphicFrameMkLst>
            <pc:docMk/>
            <pc:sldMk cId="148434690" sldId="2147476277"/>
            <ac:graphicFrameMk id="3" creationId="{A4E43284-57D5-B177-675E-BBDFD96678C7}"/>
          </ac:graphicFrameMkLst>
        </pc:graphicFrameChg>
      </pc:sldChg>
      <pc:sldChg chg="add del">
        <pc:chgData name="Iimura, Jinichi" userId="9e18df6b-b397-4f9f-a1c6-0abee7ae91a5" providerId="ADAL" clId="{8659CC36-693C-479B-B738-87E8E3013C2B}" dt="2025-06-30T08:44:23.907" v="5907" actId="47"/>
        <pc:sldMkLst>
          <pc:docMk/>
          <pc:sldMk cId="1724150108" sldId="2147476278"/>
        </pc:sldMkLst>
      </pc:sldChg>
      <pc:sldChg chg="addSp delSp modSp add mod ord">
        <pc:chgData name="Iimura, Jinichi" userId="9e18df6b-b397-4f9f-a1c6-0abee7ae91a5" providerId="ADAL" clId="{8659CC36-693C-479B-B738-87E8E3013C2B}" dt="2025-07-03T04:40:36.005" v="14721" actId="20577"/>
        <pc:sldMkLst>
          <pc:docMk/>
          <pc:sldMk cId="3596020275" sldId="2147476279"/>
        </pc:sldMkLst>
        <pc:spChg chg="add mod">
          <ac:chgData name="Iimura, Jinichi" userId="9e18df6b-b397-4f9f-a1c6-0abee7ae91a5" providerId="ADAL" clId="{8659CC36-693C-479B-B738-87E8E3013C2B}" dt="2025-07-03T04:40:36.005" v="14721" actId="20577"/>
          <ac:spMkLst>
            <pc:docMk/>
            <pc:sldMk cId="3596020275" sldId="2147476279"/>
            <ac:spMk id="2" creationId="{3E459797-BB47-C5A3-ED03-A65240AC92A2}"/>
          </ac:spMkLst>
        </pc:spChg>
        <pc:spChg chg="mod">
          <ac:chgData name="Iimura, Jinichi" userId="9e18df6b-b397-4f9f-a1c6-0abee7ae91a5" providerId="ADAL" clId="{8659CC36-693C-479B-B738-87E8E3013C2B}" dt="2025-07-02T07:28:01.763" v="12035"/>
          <ac:spMkLst>
            <pc:docMk/>
            <pc:sldMk cId="3596020275" sldId="2147476279"/>
            <ac:spMk id="5" creationId="{42DFA4FD-49DC-4731-ADFC-2219F4A8B4A7}"/>
          </ac:spMkLst>
        </pc:spChg>
        <pc:spChg chg="del">
          <ac:chgData name="Iimura, Jinichi" userId="9e18df6b-b397-4f9f-a1c6-0abee7ae91a5" providerId="ADAL" clId="{8659CC36-693C-479B-B738-87E8E3013C2B}" dt="2025-06-30T08:41:28.783" v="5632" actId="478"/>
          <ac:spMkLst>
            <pc:docMk/>
            <pc:sldMk cId="3596020275" sldId="2147476279"/>
            <ac:spMk id="9" creationId="{1937F843-39D3-831C-3F43-0081EDF4F142}"/>
          </ac:spMkLst>
        </pc:spChg>
        <pc:graphicFrameChg chg="del">
          <ac:chgData name="Iimura, Jinichi" userId="9e18df6b-b397-4f9f-a1c6-0abee7ae91a5" providerId="ADAL" clId="{8659CC36-693C-479B-B738-87E8E3013C2B}" dt="2025-06-30T08:41:26.508" v="5631" actId="478"/>
          <ac:graphicFrameMkLst>
            <pc:docMk/>
            <pc:sldMk cId="3596020275" sldId="2147476279"/>
            <ac:graphicFrameMk id="13" creationId="{62C58910-1FC0-C072-2ED0-7001F01DCEAB}"/>
          </ac:graphicFrameMkLst>
        </pc:graphicFrameChg>
      </pc:sldChg>
      <pc:sldChg chg="addSp delSp modSp add mod">
        <pc:chgData name="Iimura, Jinichi" userId="9e18df6b-b397-4f9f-a1c6-0abee7ae91a5" providerId="ADAL" clId="{8659CC36-693C-479B-B738-87E8E3013C2B}" dt="2025-07-03T04:45:35.653" v="14743" actId="20577"/>
        <pc:sldMkLst>
          <pc:docMk/>
          <pc:sldMk cId="17966168" sldId="2147476280"/>
        </pc:sldMkLst>
        <pc:spChg chg="mod">
          <ac:chgData name="Iimura, Jinichi" userId="9e18df6b-b397-4f9f-a1c6-0abee7ae91a5" providerId="ADAL" clId="{8659CC36-693C-479B-B738-87E8E3013C2B}" dt="2025-07-02T07:26:00.744" v="11998" actId="6549"/>
          <ac:spMkLst>
            <pc:docMk/>
            <pc:sldMk cId="17966168" sldId="2147476280"/>
            <ac:spMk id="5" creationId="{42DFA4FD-49DC-4731-ADFC-2219F4A8B4A7}"/>
          </ac:spMkLst>
        </pc:spChg>
        <pc:graphicFrameChg chg="add mod modGraphic">
          <ac:chgData name="Iimura, Jinichi" userId="9e18df6b-b397-4f9f-a1c6-0abee7ae91a5" providerId="ADAL" clId="{8659CC36-693C-479B-B738-87E8E3013C2B}" dt="2025-07-03T04:45:35.653" v="14743" actId="20577"/>
          <ac:graphicFrameMkLst>
            <pc:docMk/>
            <pc:sldMk cId="17966168" sldId="2147476280"/>
            <ac:graphicFrameMk id="10" creationId="{F1B4073D-5C32-4533-86B4-00156EFF1A09}"/>
          </ac:graphicFrameMkLst>
        </pc:graphicFrameChg>
        <pc:graphicFrameChg chg="add del mod modGraphic">
          <ac:chgData name="Iimura, Jinichi" userId="9e18df6b-b397-4f9f-a1c6-0abee7ae91a5" providerId="ADAL" clId="{8659CC36-693C-479B-B738-87E8E3013C2B}" dt="2025-07-02T07:25:26.739" v="11992" actId="478"/>
          <ac:graphicFrameMkLst>
            <pc:docMk/>
            <pc:sldMk cId="17966168" sldId="2147476280"/>
            <ac:graphicFrameMk id="11" creationId="{CA8B91F8-30B2-84F5-3473-AC2E3EDB27E4}"/>
          </ac:graphicFrameMkLst>
        </pc:graphicFrameChg>
        <pc:graphicFrameChg chg="del mod modGraphic">
          <ac:chgData name="Iimura, Jinichi" userId="9e18df6b-b397-4f9f-a1c6-0abee7ae91a5" providerId="ADAL" clId="{8659CC36-693C-479B-B738-87E8E3013C2B}" dt="2025-07-02T05:41:02.281" v="11280" actId="478"/>
          <ac:graphicFrameMkLst>
            <pc:docMk/>
            <pc:sldMk cId="17966168" sldId="2147476280"/>
            <ac:graphicFrameMk id="13" creationId="{62C58910-1FC0-C072-2ED0-7001F01DCEAB}"/>
          </ac:graphicFrameMkLst>
        </pc:graphicFrameChg>
        <pc:picChg chg="add del mod">
          <ac:chgData name="Iimura, Jinichi" userId="9e18df6b-b397-4f9f-a1c6-0abee7ae91a5" providerId="ADAL" clId="{8659CC36-693C-479B-B738-87E8E3013C2B}" dt="2025-07-02T23:33:17.466" v="13722" actId="478"/>
          <ac:picMkLst>
            <pc:docMk/>
            <pc:sldMk cId="17966168" sldId="2147476280"/>
            <ac:picMk id="2" creationId="{616CA38B-1655-4C0D-1DAB-EEEC07C86A77}"/>
          </ac:picMkLst>
        </pc:picChg>
        <pc:picChg chg="add del mod">
          <ac:chgData name="Iimura, Jinichi" userId="9e18df6b-b397-4f9f-a1c6-0abee7ae91a5" providerId="ADAL" clId="{8659CC36-693C-479B-B738-87E8E3013C2B}" dt="2025-07-02T23:33:17.466" v="13722" actId="478"/>
          <ac:picMkLst>
            <pc:docMk/>
            <pc:sldMk cId="17966168" sldId="2147476280"/>
            <ac:picMk id="7" creationId="{E21DE767-15D4-8053-FE74-5B73C01688EE}"/>
          </ac:picMkLst>
        </pc:picChg>
      </pc:sldChg>
      <pc:sldChg chg="addSp delSp modSp add del mod">
        <pc:chgData name="Iimura, Jinichi" userId="9e18df6b-b397-4f9f-a1c6-0abee7ae91a5" providerId="ADAL" clId="{8659CC36-693C-479B-B738-87E8E3013C2B}" dt="2025-07-02T23:53:19.097" v="14156" actId="47"/>
        <pc:sldMkLst>
          <pc:docMk/>
          <pc:sldMk cId="1744580653" sldId="2147476281"/>
        </pc:sldMkLst>
        <pc:spChg chg="mod">
          <ac:chgData name="Iimura, Jinichi" userId="9e18df6b-b397-4f9f-a1c6-0abee7ae91a5" providerId="ADAL" clId="{8659CC36-693C-479B-B738-87E8E3013C2B}" dt="2025-07-01T05:00:00.835" v="10849" actId="20577"/>
          <ac:spMkLst>
            <pc:docMk/>
            <pc:sldMk cId="1744580653" sldId="2147476281"/>
            <ac:spMk id="3" creationId="{1E34451F-92DA-79B3-D1F0-D2B52A45005B}"/>
          </ac:spMkLst>
        </pc:spChg>
        <pc:spChg chg="del">
          <ac:chgData name="Iimura, Jinichi" userId="9e18df6b-b397-4f9f-a1c6-0abee7ae91a5" providerId="ADAL" clId="{8659CC36-693C-479B-B738-87E8E3013C2B}" dt="2025-06-30T23:41:08.735" v="7796" actId="478"/>
          <ac:spMkLst>
            <pc:docMk/>
            <pc:sldMk cId="1744580653" sldId="2147476281"/>
            <ac:spMk id="5" creationId="{861ADFFC-29C2-876F-D738-3757590B0764}"/>
          </ac:spMkLst>
        </pc:spChg>
        <pc:spChg chg="add del mod">
          <ac:chgData name="Iimura, Jinichi" userId="9e18df6b-b397-4f9f-a1c6-0abee7ae91a5" providerId="ADAL" clId="{8659CC36-693C-479B-B738-87E8E3013C2B}" dt="2025-06-30T23:52:28.599" v="8346" actId="478"/>
          <ac:spMkLst>
            <pc:docMk/>
            <pc:sldMk cId="1744580653" sldId="2147476281"/>
            <ac:spMk id="8" creationId="{A5C8CB93-B3E7-6846-A5C9-A6E2644DB2E6}"/>
          </ac:spMkLst>
        </pc:spChg>
        <pc:spChg chg="add del mod">
          <ac:chgData name="Iimura, Jinichi" userId="9e18df6b-b397-4f9f-a1c6-0abee7ae91a5" providerId="ADAL" clId="{8659CC36-693C-479B-B738-87E8E3013C2B}" dt="2025-07-01T03:56:38.329" v="10214" actId="478"/>
          <ac:spMkLst>
            <pc:docMk/>
            <pc:sldMk cId="1744580653" sldId="2147476281"/>
            <ac:spMk id="9" creationId="{55C5EF13-3887-ADF1-13E3-D00F044DA4C9}"/>
          </ac:spMkLst>
        </pc:spChg>
        <pc:spChg chg="add del mod">
          <ac:chgData name="Iimura, Jinichi" userId="9e18df6b-b397-4f9f-a1c6-0abee7ae91a5" providerId="ADAL" clId="{8659CC36-693C-479B-B738-87E8E3013C2B}" dt="2025-07-01T03:56:38.329" v="10214" actId="478"/>
          <ac:spMkLst>
            <pc:docMk/>
            <pc:sldMk cId="1744580653" sldId="2147476281"/>
            <ac:spMk id="10" creationId="{E478EF32-B8EE-322C-D9E2-DE0809E679E3}"/>
          </ac:spMkLst>
        </pc:spChg>
        <pc:spChg chg="add del mod">
          <ac:chgData name="Iimura, Jinichi" userId="9e18df6b-b397-4f9f-a1c6-0abee7ae91a5" providerId="ADAL" clId="{8659CC36-693C-479B-B738-87E8E3013C2B}" dt="2025-07-01T03:56:38.329" v="10214" actId="478"/>
          <ac:spMkLst>
            <pc:docMk/>
            <pc:sldMk cId="1744580653" sldId="2147476281"/>
            <ac:spMk id="11" creationId="{7CA1F5C5-CF40-67AA-8A70-3E8847CF21F1}"/>
          </ac:spMkLst>
        </pc:spChg>
        <pc:spChg chg="add del mod">
          <ac:chgData name="Iimura, Jinichi" userId="9e18df6b-b397-4f9f-a1c6-0abee7ae91a5" providerId="ADAL" clId="{8659CC36-693C-479B-B738-87E8E3013C2B}" dt="2025-07-01T03:56:38.329" v="10214" actId="478"/>
          <ac:spMkLst>
            <pc:docMk/>
            <pc:sldMk cId="1744580653" sldId="2147476281"/>
            <ac:spMk id="12" creationId="{B6B6DDEC-BD02-4488-80D4-D7C3484DAA5E}"/>
          </ac:spMkLst>
        </pc:spChg>
        <pc:spChg chg="add del mod">
          <ac:chgData name="Iimura, Jinichi" userId="9e18df6b-b397-4f9f-a1c6-0abee7ae91a5" providerId="ADAL" clId="{8659CC36-693C-479B-B738-87E8E3013C2B}" dt="2025-07-01T03:56:35.789" v="10213" actId="478"/>
          <ac:spMkLst>
            <pc:docMk/>
            <pc:sldMk cId="1744580653" sldId="2147476281"/>
            <ac:spMk id="13" creationId="{49889C85-1989-1D28-C684-73E4617AC594}"/>
          </ac:spMkLst>
        </pc:spChg>
        <pc:spChg chg="add mod">
          <ac:chgData name="Iimura, Jinichi" userId="9e18df6b-b397-4f9f-a1c6-0abee7ae91a5" providerId="ADAL" clId="{8659CC36-693C-479B-B738-87E8E3013C2B}" dt="2025-07-01T04:58:57.349" v="10713" actId="571"/>
          <ac:spMkLst>
            <pc:docMk/>
            <pc:sldMk cId="1744580653" sldId="2147476281"/>
            <ac:spMk id="14" creationId="{5AEECC82-A081-5F46-E168-A1C29CBEF585}"/>
          </ac:spMkLst>
        </pc:spChg>
        <pc:graphicFrameChg chg="add del mod">
          <ac:chgData name="Iimura, Jinichi" userId="9e18df6b-b397-4f9f-a1c6-0abee7ae91a5" providerId="ADAL" clId="{8659CC36-693C-479B-B738-87E8E3013C2B}" dt="2025-06-30T23:52:24.779" v="8345" actId="478"/>
          <ac:graphicFrameMkLst>
            <pc:docMk/>
            <pc:sldMk cId="1744580653" sldId="2147476281"/>
            <ac:graphicFrameMk id="6" creationId="{72BA562C-4495-789A-46F4-9CB70BED4652}"/>
          </ac:graphicFrameMkLst>
        </pc:graphicFrameChg>
      </pc:sldChg>
      <pc:sldChg chg="addSp delSp modSp add mod">
        <pc:chgData name="Iimura, Jinichi" userId="9e18df6b-b397-4f9f-a1c6-0abee7ae91a5" providerId="ADAL" clId="{8659CC36-693C-479B-B738-87E8E3013C2B}" dt="2025-07-02T13:10:16.912" v="13709" actId="478"/>
        <pc:sldMkLst>
          <pc:docMk/>
          <pc:sldMk cId="2578210232" sldId="2147476282"/>
        </pc:sldMkLst>
        <pc:spChg chg="add mod">
          <ac:chgData name="Iimura, Jinichi" userId="9e18df6b-b397-4f9f-a1c6-0abee7ae91a5" providerId="ADAL" clId="{8659CC36-693C-479B-B738-87E8E3013C2B}" dt="2025-07-01T01:35:36.788" v="8922" actId="1076"/>
          <ac:spMkLst>
            <pc:docMk/>
            <pc:sldMk cId="2578210232" sldId="2147476282"/>
            <ac:spMk id="2" creationId="{A7C41562-356F-FBC5-C022-4148EFDB9B83}"/>
          </ac:spMkLst>
        </pc:spChg>
        <pc:spChg chg="mod">
          <ac:chgData name="Iimura, Jinichi" userId="9e18df6b-b397-4f9f-a1c6-0abee7ae91a5" providerId="ADAL" clId="{8659CC36-693C-479B-B738-87E8E3013C2B}" dt="2025-07-01T08:44:36.117" v="10855" actId="20577"/>
          <ac:spMkLst>
            <pc:docMk/>
            <pc:sldMk cId="2578210232" sldId="2147476282"/>
            <ac:spMk id="3" creationId="{D26E4138-15E8-5742-9FBA-E7FBE80D915F}"/>
          </ac:spMkLst>
        </pc:spChg>
        <pc:spChg chg="add mod">
          <ac:chgData name="Iimura, Jinichi" userId="9e18df6b-b397-4f9f-a1c6-0abee7ae91a5" providerId="ADAL" clId="{8659CC36-693C-479B-B738-87E8E3013C2B}" dt="2025-07-01T03:11:04.761" v="10061" actId="6549"/>
          <ac:spMkLst>
            <pc:docMk/>
            <pc:sldMk cId="2578210232" sldId="2147476282"/>
            <ac:spMk id="6" creationId="{1990E2CC-C9A6-7FEB-0C42-D541158567C1}"/>
          </ac:spMkLst>
        </pc:spChg>
        <pc:spChg chg="add mod">
          <ac:chgData name="Iimura, Jinichi" userId="9e18df6b-b397-4f9f-a1c6-0abee7ae91a5" providerId="ADAL" clId="{8659CC36-693C-479B-B738-87E8E3013C2B}" dt="2025-07-01T01:35:36.788" v="8922" actId="1076"/>
          <ac:spMkLst>
            <pc:docMk/>
            <pc:sldMk cId="2578210232" sldId="2147476282"/>
            <ac:spMk id="8" creationId="{F49EDD98-0E40-2421-8917-2B1075782665}"/>
          </ac:spMkLst>
        </pc:spChg>
        <pc:spChg chg="add mod">
          <ac:chgData name="Iimura, Jinichi" userId="9e18df6b-b397-4f9f-a1c6-0abee7ae91a5" providerId="ADAL" clId="{8659CC36-693C-479B-B738-87E8E3013C2B}" dt="2025-07-01T01:35:36.788" v="8922" actId="1076"/>
          <ac:spMkLst>
            <pc:docMk/>
            <pc:sldMk cId="2578210232" sldId="2147476282"/>
            <ac:spMk id="9" creationId="{AD0CF4CB-AA93-3105-8FDD-D7024CF1DBFA}"/>
          </ac:spMkLst>
        </pc:spChg>
        <pc:spChg chg="del">
          <ac:chgData name="Iimura, Jinichi" userId="9e18df6b-b397-4f9f-a1c6-0abee7ae91a5" providerId="ADAL" clId="{8659CC36-693C-479B-B738-87E8E3013C2B}" dt="2025-07-01T01:33:05.205" v="8716" actId="478"/>
          <ac:spMkLst>
            <pc:docMk/>
            <pc:sldMk cId="2578210232" sldId="2147476282"/>
            <ac:spMk id="11" creationId="{0EC7281E-A90C-3C15-49DE-D55E499FAA99}"/>
          </ac:spMkLst>
        </pc:spChg>
        <pc:spChg chg="del">
          <ac:chgData name="Iimura, Jinichi" userId="9e18df6b-b397-4f9f-a1c6-0abee7ae91a5" providerId="ADAL" clId="{8659CC36-693C-479B-B738-87E8E3013C2B}" dt="2025-07-01T01:33:08.217" v="8717" actId="478"/>
          <ac:spMkLst>
            <pc:docMk/>
            <pc:sldMk cId="2578210232" sldId="2147476282"/>
            <ac:spMk id="12" creationId="{FA7B8201-B10C-CA15-B4C9-D60A9EC79CD8}"/>
          </ac:spMkLst>
        </pc:spChg>
        <pc:spChg chg="del">
          <ac:chgData name="Iimura, Jinichi" userId="9e18df6b-b397-4f9f-a1c6-0abee7ae91a5" providerId="ADAL" clId="{8659CC36-693C-479B-B738-87E8E3013C2B}" dt="2025-07-01T01:33:05.205" v="8716" actId="478"/>
          <ac:spMkLst>
            <pc:docMk/>
            <pc:sldMk cId="2578210232" sldId="2147476282"/>
            <ac:spMk id="13" creationId="{FF7658A8-B13E-BC20-5F6A-5892E86FFA86}"/>
          </ac:spMkLst>
        </pc:spChg>
        <pc:spChg chg="del">
          <ac:chgData name="Iimura, Jinichi" userId="9e18df6b-b397-4f9f-a1c6-0abee7ae91a5" providerId="ADAL" clId="{8659CC36-693C-479B-B738-87E8E3013C2B}" dt="2025-07-01T01:33:05.205" v="8716" actId="478"/>
          <ac:spMkLst>
            <pc:docMk/>
            <pc:sldMk cId="2578210232" sldId="2147476282"/>
            <ac:spMk id="15" creationId="{F599A748-211D-BB62-0D32-D176DAF953E6}"/>
          </ac:spMkLst>
        </pc:spChg>
        <pc:spChg chg="del">
          <ac:chgData name="Iimura, Jinichi" userId="9e18df6b-b397-4f9f-a1c6-0abee7ae91a5" providerId="ADAL" clId="{8659CC36-693C-479B-B738-87E8E3013C2B}" dt="2025-07-01T01:33:05.205" v="8716" actId="478"/>
          <ac:spMkLst>
            <pc:docMk/>
            <pc:sldMk cId="2578210232" sldId="2147476282"/>
            <ac:spMk id="18" creationId="{B85305EE-5993-8388-4926-229A068A2D47}"/>
          </ac:spMkLst>
        </pc:spChg>
        <pc:spChg chg="del">
          <ac:chgData name="Iimura, Jinichi" userId="9e18df6b-b397-4f9f-a1c6-0abee7ae91a5" providerId="ADAL" clId="{8659CC36-693C-479B-B738-87E8E3013C2B}" dt="2025-07-01T01:33:05.205" v="8716" actId="478"/>
          <ac:spMkLst>
            <pc:docMk/>
            <pc:sldMk cId="2578210232" sldId="2147476282"/>
            <ac:spMk id="19" creationId="{2D4A9EF6-BEA3-935F-979C-C6DF0B046C0F}"/>
          </ac:spMkLst>
        </pc:spChg>
        <pc:spChg chg="add mod">
          <ac:chgData name="Iimura, Jinichi" userId="9e18df6b-b397-4f9f-a1c6-0abee7ae91a5" providerId="ADAL" clId="{8659CC36-693C-479B-B738-87E8E3013C2B}" dt="2025-07-01T01:35:36.788" v="8922" actId="1076"/>
          <ac:spMkLst>
            <pc:docMk/>
            <pc:sldMk cId="2578210232" sldId="2147476282"/>
            <ac:spMk id="20" creationId="{19214C18-DFAF-FA4C-10CC-C976026A3C92}"/>
          </ac:spMkLst>
        </pc:spChg>
        <pc:spChg chg="del">
          <ac:chgData name="Iimura, Jinichi" userId="9e18df6b-b397-4f9f-a1c6-0abee7ae91a5" providerId="ADAL" clId="{8659CC36-693C-479B-B738-87E8E3013C2B}" dt="2025-07-01T01:33:05.205" v="8716" actId="478"/>
          <ac:spMkLst>
            <pc:docMk/>
            <pc:sldMk cId="2578210232" sldId="2147476282"/>
            <ac:spMk id="21" creationId="{D5F377DA-8991-CBD9-DEB2-C631C5821F08}"/>
          </ac:spMkLst>
        </pc:spChg>
        <pc:spChg chg="add mod">
          <ac:chgData name="Iimura, Jinichi" userId="9e18df6b-b397-4f9f-a1c6-0abee7ae91a5" providerId="ADAL" clId="{8659CC36-693C-479B-B738-87E8E3013C2B}" dt="2025-07-01T03:11:08.446" v="10063" actId="20577"/>
          <ac:spMkLst>
            <pc:docMk/>
            <pc:sldMk cId="2578210232" sldId="2147476282"/>
            <ac:spMk id="26" creationId="{3B370EEC-BD6E-5537-03FB-37532FB0E04C}"/>
          </ac:spMkLst>
        </pc:spChg>
        <pc:spChg chg="add mod">
          <ac:chgData name="Iimura, Jinichi" userId="9e18df6b-b397-4f9f-a1c6-0abee7ae91a5" providerId="ADAL" clId="{8659CC36-693C-479B-B738-87E8E3013C2B}" dt="2025-07-01T01:35:36.788" v="8922" actId="1076"/>
          <ac:spMkLst>
            <pc:docMk/>
            <pc:sldMk cId="2578210232" sldId="2147476282"/>
            <ac:spMk id="27" creationId="{6751CB0D-5271-B60B-0AF2-BB1064214129}"/>
          </ac:spMkLst>
        </pc:spChg>
        <pc:spChg chg="add mod">
          <ac:chgData name="Iimura, Jinichi" userId="9e18df6b-b397-4f9f-a1c6-0abee7ae91a5" providerId="ADAL" clId="{8659CC36-693C-479B-B738-87E8E3013C2B}" dt="2025-07-01T01:35:36.788" v="8922" actId="1076"/>
          <ac:spMkLst>
            <pc:docMk/>
            <pc:sldMk cId="2578210232" sldId="2147476282"/>
            <ac:spMk id="28" creationId="{7C0123D1-3A32-5935-3C62-90F2FFF8FB0E}"/>
          </ac:spMkLst>
        </pc:spChg>
        <pc:spChg chg="del">
          <ac:chgData name="Iimura, Jinichi" userId="9e18df6b-b397-4f9f-a1c6-0abee7ae91a5" providerId="ADAL" clId="{8659CC36-693C-479B-B738-87E8E3013C2B}" dt="2025-07-01T01:33:05.205" v="8716" actId="478"/>
          <ac:spMkLst>
            <pc:docMk/>
            <pc:sldMk cId="2578210232" sldId="2147476282"/>
            <ac:spMk id="31" creationId="{DE966954-9564-D27C-51EC-66F29A0A4069}"/>
          </ac:spMkLst>
        </pc:spChg>
        <pc:spChg chg="del">
          <ac:chgData name="Iimura, Jinichi" userId="9e18df6b-b397-4f9f-a1c6-0abee7ae91a5" providerId="ADAL" clId="{8659CC36-693C-479B-B738-87E8E3013C2B}" dt="2025-07-01T01:33:05.205" v="8716" actId="478"/>
          <ac:spMkLst>
            <pc:docMk/>
            <pc:sldMk cId="2578210232" sldId="2147476282"/>
            <ac:spMk id="32" creationId="{20F21351-0918-6AF4-6B7C-D00F092C806B}"/>
          </ac:spMkLst>
        </pc:spChg>
        <pc:spChg chg="del">
          <ac:chgData name="Iimura, Jinichi" userId="9e18df6b-b397-4f9f-a1c6-0abee7ae91a5" providerId="ADAL" clId="{8659CC36-693C-479B-B738-87E8E3013C2B}" dt="2025-07-01T01:33:05.205" v="8716" actId="478"/>
          <ac:spMkLst>
            <pc:docMk/>
            <pc:sldMk cId="2578210232" sldId="2147476282"/>
            <ac:spMk id="33" creationId="{7727D9AC-836F-C7BB-77FC-41D54F08FE8E}"/>
          </ac:spMkLst>
        </pc:spChg>
        <pc:spChg chg="add mod">
          <ac:chgData name="Iimura, Jinichi" userId="9e18df6b-b397-4f9f-a1c6-0abee7ae91a5" providerId="ADAL" clId="{8659CC36-693C-479B-B738-87E8E3013C2B}" dt="2025-07-01T01:35:36.788" v="8922" actId="1076"/>
          <ac:spMkLst>
            <pc:docMk/>
            <pc:sldMk cId="2578210232" sldId="2147476282"/>
            <ac:spMk id="34" creationId="{552800AD-5020-4D59-D8C7-DDC8516EFC34}"/>
          </ac:spMkLst>
        </pc:spChg>
        <pc:spChg chg="mod">
          <ac:chgData name="Iimura, Jinichi" userId="9e18df6b-b397-4f9f-a1c6-0abee7ae91a5" providerId="ADAL" clId="{8659CC36-693C-479B-B738-87E8E3013C2B}" dt="2025-07-01T03:11:02.146" v="10060" actId="6549"/>
          <ac:spMkLst>
            <pc:docMk/>
            <pc:sldMk cId="2578210232" sldId="2147476282"/>
            <ac:spMk id="35" creationId="{EB859FA2-D846-36FC-D426-A73BED3983E8}"/>
          </ac:spMkLst>
        </pc:spChg>
        <pc:spChg chg="mod">
          <ac:chgData name="Iimura, Jinichi" userId="9e18df6b-b397-4f9f-a1c6-0abee7ae91a5" providerId="ADAL" clId="{8659CC36-693C-479B-B738-87E8E3013C2B}" dt="2025-07-01T01:35:36.788" v="8922" actId="1076"/>
          <ac:spMkLst>
            <pc:docMk/>
            <pc:sldMk cId="2578210232" sldId="2147476282"/>
            <ac:spMk id="36" creationId="{1B34CB90-071C-E8FD-1117-55BB62DB41DE}"/>
          </ac:spMkLst>
        </pc:spChg>
        <pc:spChg chg="mod">
          <ac:chgData name="Iimura, Jinichi" userId="9e18df6b-b397-4f9f-a1c6-0abee7ae91a5" providerId="ADAL" clId="{8659CC36-693C-479B-B738-87E8E3013C2B}" dt="2025-07-01T01:35:36.788" v="8922" actId="1076"/>
          <ac:spMkLst>
            <pc:docMk/>
            <pc:sldMk cId="2578210232" sldId="2147476282"/>
            <ac:spMk id="38" creationId="{CFBD0683-8EAD-1253-5903-436794324D63}"/>
          </ac:spMkLst>
        </pc:spChg>
        <pc:spChg chg="add del mod">
          <ac:chgData name="Iimura, Jinichi" userId="9e18df6b-b397-4f9f-a1c6-0abee7ae91a5" providerId="ADAL" clId="{8659CC36-693C-479B-B738-87E8E3013C2B}" dt="2025-07-02T13:10:16.912" v="13709" actId="478"/>
          <ac:spMkLst>
            <pc:docMk/>
            <pc:sldMk cId="2578210232" sldId="2147476282"/>
            <ac:spMk id="65" creationId="{120EBD2D-EF12-F464-4464-41234EB3D490}"/>
          </ac:spMkLst>
        </pc:spChg>
        <pc:spChg chg="del">
          <ac:chgData name="Iimura, Jinichi" userId="9e18df6b-b397-4f9f-a1c6-0abee7ae91a5" providerId="ADAL" clId="{8659CC36-693C-479B-B738-87E8E3013C2B}" dt="2025-07-01T01:33:05.205" v="8716" actId="478"/>
          <ac:spMkLst>
            <pc:docMk/>
            <pc:sldMk cId="2578210232" sldId="2147476282"/>
            <ac:spMk id="100" creationId="{EFAAC406-CE13-E1A4-8474-CEAE3043645F}"/>
          </ac:spMkLst>
        </pc:spChg>
        <pc:spChg chg="del">
          <ac:chgData name="Iimura, Jinichi" userId="9e18df6b-b397-4f9f-a1c6-0abee7ae91a5" providerId="ADAL" clId="{8659CC36-693C-479B-B738-87E8E3013C2B}" dt="2025-07-01T01:33:05.205" v="8716" actId="478"/>
          <ac:spMkLst>
            <pc:docMk/>
            <pc:sldMk cId="2578210232" sldId="2147476282"/>
            <ac:spMk id="116" creationId="{8939C458-6168-D5BF-FF0D-ABE2E7E5BFFE}"/>
          </ac:spMkLst>
        </pc:spChg>
        <pc:spChg chg="del">
          <ac:chgData name="Iimura, Jinichi" userId="9e18df6b-b397-4f9f-a1c6-0abee7ae91a5" providerId="ADAL" clId="{8659CC36-693C-479B-B738-87E8E3013C2B}" dt="2025-07-01T01:33:05.205" v="8716" actId="478"/>
          <ac:spMkLst>
            <pc:docMk/>
            <pc:sldMk cId="2578210232" sldId="2147476282"/>
            <ac:spMk id="135" creationId="{77893051-8EAA-013A-E796-77476F55C319}"/>
          </ac:spMkLst>
        </pc:spChg>
        <pc:spChg chg="del">
          <ac:chgData name="Iimura, Jinichi" userId="9e18df6b-b397-4f9f-a1c6-0abee7ae91a5" providerId="ADAL" clId="{8659CC36-693C-479B-B738-87E8E3013C2B}" dt="2025-07-01T01:33:08.217" v="8717" actId="478"/>
          <ac:spMkLst>
            <pc:docMk/>
            <pc:sldMk cId="2578210232" sldId="2147476282"/>
            <ac:spMk id="136" creationId="{14D1A913-3EF7-CFEE-A5C9-7FA27896BE7F}"/>
          </ac:spMkLst>
        </pc:spChg>
        <pc:spChg chg="del">
          <ac:chgData name="Iimura, Jinichi" userId="9e18df6b-b397-4f9f-a1c6-0abee7ae91a5" providerId="ADAL" clId="{8659CC36-693C-479B-B738-87E8E3013C2B}" dt="2025-07-01T01:33:05.205" v="8716" actId="478"/>
          <ac:spMkLst>
            <pc:docMk/>
            <pc:sldMk cId="2578210232" sldId="2147476282"/>
            <ac:spMk id="149" creationId="{004644D5-9DAE-1860-C784-F2C65078123F}"/>
          </ac:spMkLst>
        </pc:spChg>
        <pc:spChg chg="del">
          <ac:chgData name="Iimura, Jinichi" userId="9e18df6b-b397-4f9f-a1c6-0abee7ae91a5" providerId="ADAL" clId="{8659CC36-693C-479B-B738-87E8E3013C2B}" dt="2025-07-01T01:33:05.205" v="8716" actId="478"/>
          <ac:spMkLst>
            <pc:docMk/>
            <pc:sldMk cId="2578210232" sldId="2147476282"/>
            <ac:spMk id="174" creationId="{708A07D3-04A3-C6DA-FB6D-01A8154E5B27}"/>
          </ac:spMkLst>
        </pc:spChg>
        <pc:spChg chg="del">
          <ac:chgData name="Iimura, Jinichi" userId="9e18df6b-b397-4f9f-a1c6-0abee7ae91a5" providerId="ADAL" clId="{8659CC36-693C-479B-B738-87E8E3013C2B}" dt="2025-07-01T01:33:05.205" v="8716" actId="478"/>
          <ac:spMkLst>
            <pc:docMk/>
            <pc:sldMk cId="2578210232" sldId="2147476282"/>
            <ac:spMk id="175" creationId="{ECB50186-1B8A-488D-83D5-69690C2FF95D}"/>
          </ac:spMkLst>
        </pc:spChg>
        <pc:spChg chg="del">
          <ac:chgData name="Iimura, Jinichi" userId="9e18df6b-b397-4f9f-a1c6-0abee7ae91a5" providerId="ADAL" clId="{8659CC36-693C-479B-B738-87E8E3013C2B}" dt="2025-07-01T01:33:05.205" v="8716" actId="478"/>
          <ac:spMkLst>
            <pc:docMk/>
            <pc:sldMk cId="2578210232" sldId="2147476282"/>
            <ac:spMk id="178" creationId="{AC77F1E5-1F1D-3E15-087C-F9E23CD91B82}"/>
          </ac:spMkLst>
        </pc:spChg>
        <pc:spChg chg="del">
          <ac:chgData name="Iimura, Jinichi" userId="9e18df6b-b397-4f9f-a1c6-0abee7ae91a5" providerId="ADAL" clId="{8659CC36-693C-479B-B738-87E8E3013C2B}" dt="2025-07-01T01:33:05.205" v="8716" actId="478"/>
          <ac:spMkLst>
            <pc:docMk/>
            <pc:sldMk cId="2578210232" sldId="2147476282"/>
            <ac:spMk id="179" creationId="{FAD8B0E5-0A31-A0AC-9A78-2915089F5CF7}"/>
          </ac:spMkLst>
        </pc:spChg>
        <pc:spChg chg="del">
          <ac:chgData name="Iimura, Jinichi" userId="9e18df6b-b397-4f9f-a1c6-0abee7ae91a5" providerId="ADAL" clId="{8659CC36-693C-479B-B738-87E8E3013C2B}" dt="2025-07-01T01:33:05.205" v="8716" actId="478"/>
          <ac:spMkLst>
            <pc:docMk/>
            <pc:sldMk cId="2578210232" sldId="2147476282"/>
            <ac:spMk id="190" creationId="{C55567AE-3707-F092-8316-53803A762EA4}"/>
          </ac:spMkLst>
        </pc:spChg>
        <pc:spChg chg="mod">
          <ac:chgData name="Iimura, Jinichi" userId="9e18df6b-b397-4f9f-a1c6-0abee7ae91a5" providerId="ADAL" clId="{8659CC36-693C-479B-B738-87E8E3013C2B}" dt="2025-07-01T01:35:36.788" v="8922" actId="1076"/>
          <ac:spMkLst>
            <pc:docMk/>
            <pc:sldMk cId="2578210232" sldId="2147476282"/>
            <ac:spMk id="199" creationId="{AD0C3EC5-AB64-DCEF-E355-A5AC5F5EEFC6}"/>
          </ac:spMkLst>
        </pc:spChg>
        <pc:spChg chg="mod">
          <ac:chgData name="Iimura, Jinichi" userId="9e18df6b-b397-4f9f-a1c6-0abee7ae91a5" providerId="ADAL" clId="{8659CC36-693C-479B-B738-87E8E3013C2B}" dt="2025-07-01T03:11:11.489" v="10064" actId="6549"/>
          <ac:spMkLst>
            <pc:docMk/>
            <pc:sldMk cId="2578210232" sldId="2147476282"/>
            <ac:spMk id="206" creationId="{5B6F375D-40BB-79EB-DC20-6B47AF55D973}"/>
          </ac:spMkLst>
        </pc:spChg>
        <pc:spChg chg="mod">
          <ac:chgData name="Iimura, Jinichi" userId="9e18df6b-b397-4f9f-a1c6-0abee7ae91a5" providerId="ADAL" clId="{8659CC36-693C-479B-B738-87E8E3013C2B}" dt="2025-07-01T01:35:36.788" v="8922" actId="1076"/>
          <ac:spMkLst>
            <pc:docMk/>
            <pc:sldMk cId="2578210232" sldId="2147476282"/>
            <ac:spMk id="207" creationId="{68C0F955-048B-4332-B36D-655A83590DEF}"/>
          </ac:spMkLst>
        </pc:spChg>
        <pc:spChg chg="mod">
          <ac:chgData name="Iimura, Jinichi" userId="9e18df6b-b397-4f9f-a1c6-0abee7ae91a5" providerId="ADAL" clId="{8659CC36-693C-479B-B738-87E8E3013C2B}" dt="2025-07-01T01:35:36.788" v="8922" actId="1076"/>
          <ac:spMkLst>
            <pc:docMk/>
            <pc:sldMk cId="2578210232" sldId="2147476282"/>
            <ac:spMk id="208" creationId="{2C44567B-889B-991B-76AD-04CFBA2FA8A4}"/>
          </ac:spMkLst>
        </pc:spChg>
        <pc:spChg chg="mod">
          <ac:chgData name="Iimura, Jinichi" userId="9e18df6b-b397-4f9f-a1c6-0abee7ae91a5" providerId="ADAL" clId="{8659CC36-693C-479B-B738-87E8E3013C2B}" dt="2025-07-01T01:35:36.788" v="8922" actId="1076"/>
          <ac:spMkLst>
            <pc:docMk/>
            <pc:sldMk cId="2578210232" sldId="2147476282"/>
            <ac:spMk id="211" creationId="{4E2BDA79-E55E-738A-29B2-6E0A6BF5B895}"/>
          </ac:spMkLst>
        </pc:spChg>
        <pc:cxnChg chg="add mod">
          <ac:chgData name="Iimura, Jinichi" userId="9e18df6b-b397-4f9f-a1c6-0abee7ae91a5" providerId="ADAL" clId="{8659CC36-693C-479B-B738-87E8E3013C2B}" dt="2025-07-01T01:35:47.251" v="8926" actId="1036"/>
          <ac:cxnSpMkLst>
            <pc:docMk/>
            <pc:sldMk cId="2578210232" sldId="2147476282"/>
            <ac:cxnSpMk id="10" creationId="{99850F0F-66D1-2135-15B8-E7D50A7E581D}"/>
          </ac:cxnSpMkLst>
        </pc:cxnChg>
        <pc:cxnChg chg="del mod">
          <ac:chgData name="Iimura, Jinichi" userId="9e18df6b-b397-4f9f-a1c6-0abee7ae91a5" providerId="ADAL" clId="{8659CC36-693C-479B-B738-87E8E3013C2B}" dt="2025-07-01T01:33:05.205" v="8716" actId="478"/>
          <ac:cxnSpMkLst>
            <pc:docMk/>
            <pc:sldMk cId="2578210232" sldId="2147476282"/>
            <ac:cxnSpMk id="14" creationId="{F10F571C-D0AD-66FE-3042-772090E4B0EA}"/>
          </ac:cxnSpMkLst>
        </pc:cxnChg>
        <pc:cxnChg chg="del mod">
          <ac:chgData name="Iimura, Jinichi" userId="9e18df6b-b397-4f9f-a1c6-0abee7ae91a5" providerId="ADAL" clId="{8659CC36-693C-479B-B738-87E8E3013C2B}" dt="2025-07-01T01:33:05.205" v="8716" actId="478"/>
          <ac:cxnSpMkLst>
            <pc:docMk/>
            <pc:sldMk cId="2578210232" sldId="2147476282"/>
            <ac:cxnSpMk id="16" creationId="{D3294AEF-132B-EEC9-8CDD-F9A9B3615206}"/>
          </ac:cxnSpMkLst>
        </pc:cxnChg>
        <pc:cxnChg chg="add mod">
          <ac:chgData name="Iimura, Jinichi" userId="9e18df6b-b397-4f9f-a1c6-0abee7ae91a5" providerId="ADAL" clId="{8659CC36-693C-479B-B738-87E8E3013C2B}" dt="2025-07-01T01:35:47.251" v="8926" actId="1036"/>
          <ac:cxnSpMkLst>
            <pc:docMk/>
            <pc:sldMk cId="2578210232" sldId="2147476282"/>
            <ac:cxnSpMk id="17" creationId="{1FB3A1D5-DE02-2957-40AD-05D59536B87D}"/>
          </ac:cxnSpMkLst>
        </pc:cxnChg>
        <pc:cxnChg chg="del mod">
          <ac:chgData name="Iimura, Jinichi" userId="9e18df6b-b397-4f9f-a1c6-0abee7ae91a5" providerId="ADAL" clId="{8659CC36-693C-479B-B738-87E8E3013C2B}" dt="2025-07-01T01:33:05.205" v="8716" actId="478"/>
          <ac:cxnSpMkLst>
            <pc:docMk/>
            <pc:sldMk cId="2578210232" sldId="2147476282"/>
            <ac:cxnSpMk id="22" creationId="{026C6372-24E8-0C75-95F0-EC532F87C8E3}"/>
          </ac:cxnSpMkLst>
        </pc:cxnChg>
        <pc:cxnChg chg="del mod">
          <ac:chgData name="Iimura, Jinichi" userId="9e18df6b-b397-4f9f-a1c6-0abee7ae91a5" providerId="ADAL" clId="{8659CC36-693C-479B-B738-87E8E3013C2B}" dt="2025-07-01T01:33:05.205" v="8716" actId="478"/>
          <ac:cxnSpMkLst>
            <pc:docMk/>
            <pc:sldMk cId="2578210232" sldId="2147476282"/>
            <ac:cxnSpMk id="23" creationId="{C1CFC255-D82A-A91C-58F4-D31F804F78FB}"/>
          </ac:cxnSpMkLst>
        </pc:cxnChg>
        <pc:cxnChg chg="del mod">
          <ac:chgData name="Iimura, Jinichi" userId="9e18df6b-b397-4f9f-a1c6-0abee7ae91a5" providerId="ADAL" clId="{8659CC36-693C-479B-B738-87E8E3013C2B}" dt="2025-07-01T01:33:05.205" v="8716" actId="478"/>
          <ac:cxnSpMkLst>
            <pc:docMk/>
            <pc:sldMk cId="2578210232" sldId="2147476282"/>
            <ac:cxnSpMk id="24" creationId="{CC0F81B0-F524-0017-82F0-75A932D3C179}"/>
          </ac:cxnSpMkLst>
        </pc:cxnChg>
        <pc:cxnChg chg="add mod">
          <ac:chgData name="Iimura, Jinichi" userId="9e18df6b-b397-4f9f-a1c6-0abee7ae91a5" providerId="ADAL" clId="{8659CC36-693C-479B-B738-87E8E3013C2B}" dt="2025-07-01T01:35:36.788" v="8922" actId="1076"/>
          <ac:cxnSpMkLst>
            <pc:docMk/>
            <pc:sldMk cId="2578210232" sldId="2147476282"/>
            <ac:cxnSpMk id="25" creationId="{7C37A400-83A8-ABB6-642C-065BC6DFD0AA}"/>
          </ac:cxnSpMkLst>
        </pc:cxnChg>
        <pc:cxnChg chg="add mod">
          <ac:chgData name="Iimura, Jinichi" userId="9e18df6b-b397-4f9f-a1c6-0abee7ae91a5" providerId="ADAL" clId="{8659CC36-693C-479B-B738-87E8E3013C2B}" dt="2025-07-01T01:35:47.251" v="8926" actId="1036"/>
          <ac:cxnSpMkLst>
            <pc:docMk/>
            <pc:sldMk cId="2578210232" sldId="2147476282"/>
            <ac:cxnSpMk id="29" creationId="{08BDA96F-212C-E0DA-A2A3-9AC8A3A33FF2}"/>
          </ac:cxnSpMkLst>
        </pc:cxnChg>
        <pc:cxnChg chg="add mod">
          <ac:chgData name="Iimura, Jinichi" userId="9e18df6b-b397-4f9f-a1c6-0abee7ae91a5" providerId="ADAL" clId="{8659CC36-693C-479B-B738-87E8E3013C2B}" dt="2025-07-01T01:35:47.251" v="8926" actId="1036"/>
          <ac:cxnSpMkLst>
            <pc:docMk/>
            <pc:sldMk cId="2578210232" sldId="2147476282"/>
            <ac:cxnSpMk id="30" creationId="{0A8D879F-4214-84E7-AF4B-755F2EA46581}"/>
          </ac:cxnSpMkLst>
        </pc:cxnChg>
        <pc:cxnChg chg="add mod">
          <ac:chgData name="Iimura, Jinichi" userId="9e18df6b-b397-4f9f-a1c6-0abee7ae91a5" providerId="ADAL" clId="{8659CC36-693C-479B-B738-87E8E3013C2B}" dt="2025-07-01T01:35:36.788" v="8922" actId="1076"/>
          <ac:cxnSpMkLst>
            <pc:docMk/>
            <pc:sldMk cId="2578210232" sldId="2147476282"/>
            <ac:cxnSpMk id="37" creationId="{89483F0F-89B6-30AA-E7DD-D023835917BE}"/>
          </ac:cxnSpMkLst>
        </pc:cxnChg>
        <pc:cxnChg chg="add mod">
          <ac:chgData name="Iimura, Jinichi" userId="9e18df6b-b397-4f9f-a1c6-0abee7ae91a5" providerId="ADAL" clId="{8659CC36-693C-479B-B738-87E8E3013C2B}" dt="2025-07-01T01:35:47.251" v="8926" actId="1036"/>
          <ac:cxnSpMkLst>
            <pc:docMk/>
            <pc:sldMk cId="2578210232" sldId="2147476282"/>
            <ac:cxnSpMk id="40" creationId="{5265251A-1577-9AA0-67D6-93B7DAA1E08A}"/>
          </ac:cxnSpMkLst>
        </pc:cxnChg>
        <pc:cxnChg chg="del mod">
          <ac:chgData name="Iimura, Jinichi" userId="9e18df6b-b397-4f9f-a1c6-0abee7ae91a5" providerId="ADAL" clId="{8659CC36-693C-479B-B738-87E8E3013C2B}" dt="2025-07-01T01:33:05.205" v="8716" actId="478"/>
          <ac:cxnSpMkLst>
            <pc:docMk/>
            <pc:sldMk cId="2578210232" sldId="2147476282"/>
            <ac:cxnSpMk id="42" creationId="{86859C7E-7FD0-D7D3-97EE-D8740818B5EF}"/>
          </ac:cxnSpMkLst>
        </pc:cxnChg>
        <pc:cxnChg chg="del mod">
          <ac:chgData name="Iimura, Jinichi" userId="9e18df6b-b397-4f9f-a1c6-0abee7ae91a5" providerId="ADAL" clId="{8659CC36-693C-479B-B738-87E8E3013C2B}" dt="2025-07-01T01:33:05.205" v="8716" actId="478"/>
          <ac:cxnSpMkLst>
            <pc:docMk/>
            <pc:sldMk cId="2578210232" sldId="2147476282"/>
            <ac:cxnSpMk id="43" creationId="{DD12EB4E-0D15-3098-CB9D-4B2325F7BD60}"/>
          </ac:cxnSpMkLst>
        </pc:cxnChg>
        <pc:cxnChg chg="mod">
          <ac:chgData name="Iimura, Jinichi" userId="9e18df6b-b397-4f9f-a1c6-0abee7ae91a5" providerId="ADAL" clId="{8659CC36-693C-479B-B738-87E8E3013C2B}" dt="2025-07-01T01:35:47.251" v="8926" actId="1036"/>
          <ac:cxnSpMkLst>
            <pc:docMk/>
            <pc:sldMk cId="2578210232" sldId="2147476282"/>
            <ac:cxnSpMk id="45" creationId="{A50974C0-3B4F-637F-EAEC-FC5DA5C83881}"/>
          </ac:cxnSpMkLst>
        </pc:cxnChg>
        <pc:cxnChg chg="mod">
          <ac:chgData name="Iimura, Jinichi" userId="9e18df6b-b397-4f9f-a1c6-0abee7ae91a5" providerId="ADAL" clId="{8659CC36-693C-479B-B738-87E8E3013C2B}" dt="2025-07-01T01:35:47.251" v="8926" actId="1036"/>
          <ac:cxnSpMkLst>
            <pc:docMk/>
            <pc:sldMk cId="2578210232" sldId="2147476282"/>
            <ac:cxnSpMk id="46" creationId="{1ED8B4C6-B496-7772-D5C0-B7AD5058CF87}"/>
          </ac:cxnSpMkLst>
        </pc:cxnChg>
        <pc:cxnChg chg="add mod">
          <ac:chgData name="Iimura, Jinichi" userId="9e18df6b-b397-4f9f-a1c6-0abee7ae91a5" providerId="ADAL" clId="{8659CC36-693C-479B-B738-87E8E3013C2B}" dt="2025-07-01T01:35:47.251" v="8926" actId="1036"/>
          <ac:cxnSpMkLst>
            <pc:docMk/>
            <pc:sldMk cId="2578210232" sldId="2147476282"/>
            <ac:cxnSpMk id="47" creationId="{F46AD5E6-4DCB-EBD0-6EA4-8B255EC9C10F}"/>
          </ac:cxnSpMkLst>
        </pc:cxnChg>
        <pc:cxnChg chg="del mod">
          <ac:chgData name="Iimura, Jinichi" userId="9e18df6b-b397-4f9f-a1c6-0abee7ae91a5" providerId="ADAL" clId="{8659CC36-693C-479B-B738-87E8E3013C2B}" dt="2025-07-01T01:33:05.205" v="8716" actId="478"/>
          <ac:cxnSpMkLst>
            <pc:docMk/>
            <pc:sldMk cId="2578210232" sldId="2147476282"/>
            <ac:cxnSpMk id="53" creationId="{1F8EF0D7-25B6-B2B7-A0A3-65F999B4BBB4}"/>
          </ac:cxnSpMkLst>
        </pc:cxnChg>
        <pc:cxnChg chg="del mod">
          <ac:chgData name="Iimura, Jinichi" userId="9e18df6b-b397-4f9f-a1c6-0abee7ae91a5" providerId="ADAL" clId="{8659CC36-693C-479B-B738-87E8E3013C2B}" dt="2025-07-01T01:33:05.205" v="8716" actId="478"/>
          <ac:cxnSpMkLst>
            <pc:docMk/>
            <pc:sldMk cId="2578210232" sldId="2147476282"/>
            <ac:cxnSpMk id="54" creationId="{8D8F976A-8A31-9743-FFFD-47DB879400C1}"/>
          </ac:cxnSpMkLst>
        </pc:cxnChg>
        <pc:cxnChg chg="mod">
          <ac:chgData name="Iimura, Jinichi" userId="9e18df6b-b397-4f9f-a1c6-0abee7ae91a5" providerId="ADAL" clId="{8659CC36-693C-479B-B738-87E8E3013C2B}" dt="2025-07-01T01:35:47.251" v="8926" actId="1036"/>
          <ac:cxnSpMkLst>
            <pc:docMk/>
            <pc:sldMk cId="2578210232" sldId="2147476282"/>
            <ac:cxnSpMk id="63" creationId="{3C7D80C4-514F-66F9-3983-5323B434EBE8}"/>
          </ac:cxnSpMkLst>
        </pc:cxnChg>
        <pc:cxnChg chg="del mod">
          <ac:chgData name="Iimura, Jinichi" userId="9e18df6b-b397-4f9f-a1c6-0abee7ae91a5" providerId="ADAL" clId="{8659CC36-693C-479B-B738-87E8E3013C2B}" dt="2025-07-01T01:33:05.205" v="8716" actId="478"/>
          <ac:cxnSpMkLst>
            <pc:docMk/>
            <pc:sldMk cId="2578210232" sldId="2147476282"/>
            <ac:cxnSpMk id="122" creationId="{554EEB04-D48D-FB97-6E23-7804658CE7CB}"/>
          </ac:cxnSpMkLst>
        </pc:cxnChg>
        <pc:cxnChg chg="del">
          <ac:chgData name="Iimura, Jinichi" userId="9e18df6b-b397-4f9f-a1c6-0abee7ae91a5" providerId="ADAL" clId="{8659CC36-693C-479B-B738-87E8E3013C2B}" dt="2025-07-01T01:33:05.205" v="8716" actId="478"/>
          <ac:cxnSpMkLst>
            <pc:docMk/>
            <pc:sldMk cId="2578210232" sldId="2147476282"/>
            <ac:cxnSpMk id="125" creationId="{2C0CB89C-E691-1567-C913-125A3AEABF8F}"/>
          </ac:cxnSpMkLst>
        </pc:cxnChg>
        <pc:cxnChg chg="del mod">
          <ac:chgData name="Iimura, Jinichi" userId="9e18df6b-b397-4f9f-a1c6-0abee7ae91a5" providerId="ADAL" clId="{8659CC36-693C-479B-B738-87E8E3013C2B}" dt="2025-07-01T01:33:05.205" v="8716" actId="478"/>
          <ac:cxnSpMkLst>
            <pc:docMk/>
            <pc:sldMk cId="2578210232" sldId="2147476282"/>
            <ac:cxnSpMk id="126" creationId="{1F77B675-8655-F85D-F698-24A76806E3BE}"/>
          </ac:cxnSpMkLst>
        </pc:cxnChg>
        <pc:cxnChg chg="del mod">
          <ac:chgData name="Iimura, Jinichi" userId="9e18df6b-b397-4f9f-a1c6-0abee7ae91a5" providerId="ADAL" clId="{8659CC36-693C-479B-B738-87E8E3013C2B}" dt="2025-07-01T01:33:05.205" v="8716" actId="478"/>
          <ac:cxnSpMkLst>
            <pc:docMk/>
            <pc:sldMk cId="2578210232" sldId="2147476282"/>
            <ac:cxnSpMk id="137" creationId="{95DB5347-CC11-957B-7557-6CB618534B57}"/>
          </ac:cxnSpMkLst>
        </pc:cxnChg>
        <pc:cxnChg chg="del mod">
          <ac:chgData name="Iimura, Jinichi" userId="9e18df6b-b397-4f9f-a1c6-0abee7ae91a5" providerId="ADAL" clId="{8659CC36-693C-479B-B738-87E8E3013C2B}" dt="2025-07-01T01:33:05.205" v="8716" actId="478"/>
          <ac:cxnSpMkLst>
            <pc:docMk/>
            <pc:sldMk cId="2578210232" sldId="2147476282"/>
            <ac:cxnSpMk id="140" creationId="{84781771-D72E-4E9B-6463-25F4E34ADDEF}"/>
          </ac:cxnSpMkLst>
        </pc:cxnChg>
        <pc:cxnChg chg="del mod">
          <ac:chgData name="Iimura, Jinichi" userId="9e18df6b-b397-4f9f-a1c6-0abee7ae91a5" providerId="ADAL" clId="{8659CC36-693C-479B-B738-87E8E3013C2B}" dt="2025-07-01T01:33:05.205" v="8716" actId="478"/>
          <ac:cxnSpMkLst>
            <pc:docMk/>
            <pc:sldMk cId="2578210232" sldId="2147476282"/>
            <ac:cxnSpMk id="165" creationId="{C48535E0-19E6-2656-60DE-82E0A02CF4BC}"/>
          </ac:cxnSpMkLst>
        </pc:cxnChg>
        <pc:cxnChg chg="del mod">
          <ac:chgData name="Iimura, Jinichi" userId="9e18df6b-b397-4f9f-a1c6-0abee7ae91a5" providerId="ADAL" clId="{8659CC36-693C-479B-B738-87E8E3013C2B}" dt="2025-07-01T01:33:05.205" v="8716" actId="478"/>
          <ac:cxnSpMkLst>
            <pc:docMk/>
            <pc:sldMk cId="2578210232" sldId="2147476282"/>
            <ac:cxnSpMk id="176" creationId="{B9E24C67-C634-8A30-6891-C495A6038CB4}"/>
          </ac:cxnSpMkLst>
        </pc:cxnChg>
        <pc:cxnChg chg="del">
          <ac:chgData name="Iimura, Jinichi" userId="9e18df6b-b397-4f9f-a1c6-0abee7ae91a5" providerId="ADAL" clId="{8659CC36-693C-479B-B738-87E8E3013C2B}" dt="2025-07-01T01:33:05.205" v="8716" actId="478"/>
          <ac:cxnSpMkLst>
            <pc:docMk/>
            <pc:sldMk cId="2578210232" sldId="2147476282"/>
            <ac:cxnSpMk id="177" creationId="{9DBD09AC-3895-3E9B-855C-D37C4E040007}"/>
          </ac:cxnSpMkLst>
        </pc:cxnChg>
        <pc:cxnChg chg="del mod">
          <ac:chgData name="Iimura, Jinichi" userId="9e18df6b-b397-4f9f-a1c6-0abee7ae91a5" providerId="ADAL" clId="{8659CC36-693C-479B-B738-87E8E3013C2B}" dt="2025-07-01T01:33:05.205" v="8716" actId="478"/>
          <ac:cxnSpMkLst>
            <pc:docMk/>
            <pc:sldMk cId="2578210232" sldId="2147476282"/>
            <ac:cxnSpMk id="180" creationId="{2ACCC00B-7E3A-F74A-E417-C4D54A5B84D4}"/>
          </ac:cxnSpMkLst>
        </pc:cxnChg>
        <pc:cxnChg chg="del mod">
          <ac:chgData name="Iimura, Jinichi" userId="9e18df6b-b397-4f9f-a1c6-0abee7ae91a5" providerId="ADAL" clId="{8659CC36-693C-479B-B738-87E8E3013C2B}" dt="2025-07-01T01:33:05.205" v="8716" actId="478"/>
          <ac:cxnSpMkLst>
            <pc:docMk/>
            <pc:sldMk cId="2578210232" sldId="2147476282"/>
            <ac:cxnSpMk id="181" creationId="{0EC59176-684A-326D-6FEC-DC82371914C6}"/>
          </ac:cxnSpMkLst>
        </pc:cxnChg>
        <pc:cxnChg chg="del mod">
          <ac:chgData name="Iimura, Jinichi" userId="9e18df6b-b397-4f9f-a1c6-0abee7ae91a5" providerId="ADAL" clId="{8659CC36-693C-479B-B738-87E8E3013C2B}" dt="2025-07-01T01:33:05.205" v="8716" actId="478"/>
          <ac:cxnSpMkLst>
            <pc:docMk/>
            <pc:sldMk cId="2578210232" sldId="2147476282"/>
            <ac:cxnSpMk id="191" creationId="{D235A8C2-A922-3CB2-4C23-681D6A954D7B}"/>
          </ac:cxnSpMkLst>
        </pc:cxnChg>
        <pc:cxnChg chg="mod">
          <ac:chgData name="Iimura, Jinichi" userId="9e18df6b-b397-4f9f-a1c6-0abee7ae91a5" providerId="ADAL" clId="{8659CC36-693C-479B-B738-87E8E3013C2B}" dt="2025-07-01T01:35:36.788" v="8922" actId="1076"/>
          <ac:cxnSpMkLst>
            <pc:docMk/>
            <pc:sldMk cId="2578210232" sldId="2147476282"/>
            <ac:cxnSpMk id="200" creationId="{6EE866C3-1C38-E56B-9E65-07AD40FD6B61}"/>
          </ac:cxnSpMkLst>
        </pc:cxnChg>
        <pc:cxnChg chg="mod">
          <ac:chgData name="Iimura, Jinichi" userId="9e18df6b-b397-4f9f-a1c6-0abee7ae91a5" providerId="ADAL" clId="{8659CC36-693C-479B-B738-87E8E3013C2B}" dt="2025-07-01T01:35:47.251" v="8926" actId="1036"/>
          <ac:cxnSpMkLst>
            <pc:docMk/>
            <pc:sldMk cId="2578210232" sldId="2147476282"/>
            <ac:cxnSpMk id="209" creationId="{D0C93994-1CC7-D513-8F66-8CCD14E99270}"/>
          </ac:cxnSpMkLst>
        </pc:cxnChg>
        <pc:cxnChg chg="mod">
          <ac:chgData name="Iimura, Jinichi" userId="9e18df6b-b397-4f9f-a1c6-0abee7ae91a5" providerId="ADAL" clId="{8659CC36-693C-479B-B738-87E8E3013C2B}" dt="2025-07-01T01:35:47.251" v="8926" actId="1036"/>
          <ac:cxnSpMkLst>
            <pc:docMk/>
            <pc:sldMk cId="2578210232" sldId="2147476282"/>
            <ac:cxnSpMk id="210" creationId="{94B0BC29-0F19-F0E7-E77F-4B8F0E7390D7}"/>
          </ac:cxnSpMkLst>
        </pc:cxnChg>
        <pc:cxnChg chg="mod">
          <ac:chgData name="Iimura, Jinichi" userId="9e18df6b-b397-4f9f-a1c6-0abee7ae91a5" providerId="ADAL" clId="{8659CC36-693C-479B-B738-87E8E3013C2B}" dt="2025-07-01T01:35:36.788" v="8922" actId="1076"/>
          <ac:cxnSpMkLst>
            <pc:docMk/>
            <pc:sldMk cId="2578210232" sldId="2147476282"/>
            <ac:cxnSpMk id="212" creationId="{D79AE391-A60D-49AA-0C2B-95B57B280A48}"/>
          </ac:cxnSpMkLst>
        </pc:cxnChg>
        <pc:cxnChg chg="mod">
          <ac:chgData name="Iimura, Jinichi" userId="9e18df6b-b397-4f9f-a1c6-0abee7ae91a5" providerId="ADAL" clId="{8659CC36-693C-479B-B738-87E8E3013C2B}" dt="2025-07-01T01:35:47.251" v="8926" actId="1036"/>
          <ac:cxnSpMkLst>
            <pc:docMk/>
            <pc:sldMk cId="2578210232" sldId="2147476282"/>
            <ac:cxnSpMk id="213" creationId="{40D357F1-44D3-A0A7-8E5F-A45522C2D9A2}"/>
          </ac:cxnSpMkLst>
        </pc:cxnChg>
        <pc:cxnChg chg="del mod">
          <ac:chgData name="Iimura, Jinichi" userId="9e18df6b-b397-4f9f-a1c6-0abee7ae91a5" providerId="ADAL" clId="{8659CC36-693C-479B-B738-87E8E3013C2B}" dt="2025-07-01T01:33:05.205" v="8716" actId="478"/>
          <ac:cxnSpMkLst>
            <pc:docMk/>
            <pc:sldMk cId="2578210232" sldId="2147476282"/>
            <ac:cxnSpMk id="216" creationId="{7A00BC8C-F0E6-5A26-4D22-52C9A9DC2656}"/>
          </ac:cxnSpMkLst>
        </pc:cxnChg>
      </pc:sldChg>
      <pc:sldChg chg="addSp delSp modSp add mod ord">
        <pc:chgData name="Iimura, Jinichi" userId="9e18df6b-b397-4f9f-a1c6-0abee7ae91a5" providerId="ADAL" clId="{8659CC36-693C-479B-B738-87E8E3013C2B}" dt="2025-07-03T02:34:45.727" v="14213" actId="14100"/>
        <pc:sldMkLst>
          <pc:docMk/>
          <pc:sldMk cId="481945135" sldId="2147476283"/>
        </pc:sldMkLst>
        <pc:spChg chg="mod ord">
          <ac:chgData name="Iimura, Jinichi" userId="9e18df6b-b397-4f9f-a1c6-0abee7ae91a5" providerId="ADAL" clId="{8659CC36-693C-479B-B738-87E8E3013C2B}" dt="2025-07-01T02:28:23.246" v="9485"/>
          <ac:spMkLst>
            <pc:docMk/>
            <pc:sldMk cId="481945135" sldId="2147476283"/>
            <ac:spMk id="3" creationId="{251B3422-0C83-F0E0-CEB5-1398EC9D9C0C}"/>
          </ac:spMkLst>
        </pc:spChg>
        <pc:spChg chg="mod ord">
          <ac:chgData name="Iimura, Jinichi" userId="9e18df6b-b397-4f9f-a1c6-0abee7ae91a5" providerId="ADAL" clId="{8659CC36-693C-479B-B738-87E8E3013C2B}" dt="2025-07-01T02:28:23.246" v="9483"/>
          <ac:spMkLst>
            <pc:docMk/>
            <pc:sldMk cId="481945135" sldId="2147476283"/>
            <ac:spMk id="4" creationId="{C0CD4ED1-0F74-83B6-F4AC-8C87103B97BF}"/>
          </ac:spMkLst>
        </pc:spChg>
        <pc:spChg chg="add mod ord">
          <ac:chgData name="Iimura, Jinichi" userId="9e18df6b-b397-4f9f-a1c6-0abee7ae91a5" providerId="ADAL" clId="{8659CC36-693C-479B-B738-87E8E3013C2B}" dt="2025-07-01T02:28:23.243" v="9479"/>
          <ac:spMkLst>
            <pc:docMk/>
            <pc:sldMk cId="481945135" sldId="2147476283"/>
            <ac:spMk id="8" creationId="{45FC897D-F305-AD16-6F84-DEB50D018DAD}"/>
          </ac:spMkLst>
        </pc:spChg>
        <pc:spChg chg="add mod">
          <ac:chgData name="Iimura, Jinichi" userId="9e18df6b-b397-4f9f-a1c6-0abee7ae91a5" providerId="ADAL" clId="{8659CC36-693C-479B-B738-87E8E3013C2B}" dt="2025-07-01T02:34:54.980" v="9748" actId="20577"/>
          <ac:spMkLst>
            <pc:docMk/>
            <pc:sldMk cId="481945135" sldId="2147476283"/>
            <ac:spMk id="9" creationId="{8D72B16E-B871-F529-01BA-FC134161CAFB}"/>
          </ac:spMkLst>
        </pc:spChg>
        <pc:spChg chg="mod ord topLvl">
          <ac:chgData name="Iimura, Jinichi" userId="9e18df6b-b397-4f9f-a1c6-0abee7ae91a5" providerId="ADAL" clId="{8659CC36-693C-479B-B738-87E8E3013C2B}" dt="2025-07-01T02:28:23.249" v="9493"/>
          <ac:spMkLst>
            <pc:docMk/>
            <pc:sldMk cId="481945135" sldId="2147476283"/>
            <ac:spMk id="25" creationId="{0CD750F5-E3CB-4EA2-5BB2-32AFA06CD271}"/>
          </ac:spMkLst>
        </pc:spChg>
        <pc:spChg chg="del mod ord topLvl">
          <ac:chgData name="Iimura, Jinichi" userId="9e18df6b-b397-4f9f-a1c6-0abee7ae91a5" providerId="ADAL" clId="{8659CC36-693C-479B-B738-87E8E3013C2B}" dt="2025-07-01T01:56:17.934" v="9164" actId="478"/>
          <ac:spMkLst>
            <pc:docMk/>
            <pc:sldMk cId="481945135" sldId="2147476283"/>
            <ac:spMk id="26" creationId="{F17A776B-3099-93C5-F8E4-1623E211B252}"/>
          </ac:spMkLst>
        </pc:spChg>
        <pc:spChg chg="del mod topLvl">
          <ac:chgData name="Iimura, Jinichi" userId="9e18df6b-b397-4f9f-a1c6-0abee7ae91a5" providerId="ADAL" clId="{8659CC36-693C-479B-B738-87E8E3013C2B}" dt="2025-07-01T01:55:25.993" v="9123" actId="478"/>
          <ac:spMkLst>
            <pc:docMk/>
            <pc:sldMk cId="481945135" sldId="2147476283"/>
            <ac:spMk id="27" creationId="{33C28B48-7D7F-8DE1-DB03-ABE7BD6C8C24}"/>
          </ac:spMkLst>
        </pc:spChg>
        <pc:spChg chg="mod ord">
          <ac:chgData name="Iimura, Jinichi" userId="9e18df6b-b397-4f9f-a1c6-0abee7ae91a5" providerId="ADAL" clId="{8659CC36-693C-479B-B738-87E8E3013C2B}" dt="2025-07-01T02:28:23.247" v="9487"/>
          <ac:spMkLst>
            <pc:docMk/>
            <pc:sldMk cId="481945135" sldId="2147476283"/>
            <ac:spMk id="28" creationId="{B45C7C43-84BC-EB68-B34A-AAE39F6D8E9C}"/>
          </ac:spMkLst>
        </pc:spChg>
        <pc:spChg chg="del mod topLvl">
          <ac:chgData name="Iimura, Jinichi" userId="9e18df6b-b397-4f9f-a1c6-0abee7ae91a5" providerId="ADAL" clId="{8659CC36-693C-479B-B738-87E8E3013C2B}" dt="2025-07-01T01:55:26.693" v="9124" actId="478"/>
          <ac:spMkLst>
            <pc:docMk/>
            <pc:sldMk cId="481945135" sldId="2147476283"/>
            <ac:spMk id="29" creationId="{BA78ADCD-AFEE-9013-2051-A4AE1052BDF0}"/>
          </ac:spMkLst>
        </pc:spChg>
        <pc:spChg chg="mod ord topLvl">
          <ac:chgData name="Iimura, Jinichi" userId="9e18df6b-b397-4f9f-a1c6-0abee7ae91a5" providerId="ADAL" clId="{8659CC36-693C-479B-B738-87E8E3013C2B}" dt="2025-07-03T02:34:45.727" v="14213" actId="14100"/>
          <ac:spMkLst>
            <pc:docMk/>
            <pc:sldMk cId="481945135" sldId="2147476283"/>
            <ac:spMk id="30" creationId="{3448C59E-558C-342D-EA1A-7AE67789B08F}"/>
          </ac:spMkLst>
        </pc:spChg>
        <pc:spChg chg="del mod topLvl">
          <ac:chgData name="Iimura, Jinichi" userId="9e18df6b-b397-4f9f-a1c6-0abee7ae91a5" providerId="ADAL" clId="{8659CC36-693C-479B-B738-87E8E3013C2B}" dt="2025-07-01T01:55:28.455" v="9126" actId="478"/>
          <ac:spMkLst>
            <pc:docMk/>
            <pc:sldMk cId="481945135" sldId="2147476283"/>
            <ac:spMk id="31" creationId="{D37B6B79-C61D-5F76-895C-94CB6A689E20}"/>
          </ac:spMkLst>
        </pc:spChg>
        <pc:spChg chg="mod ord">
          <ac:chgData name="Iimura, Jinichi" userId="9e18df6b-b397-4f9f-a1c6-0abee7ae91a5" providerId="ADAL" clId="{8659CC36-693C-479B-B738-87E8E3013C2B}" dt="2025-07-01T02:28:23.248" v="9489"/>
          <ac:spMkLst>
            <pc:docMk/>
            <pc:sldMk cId="481945135" sldId="2147476283"/>
            <ac:spMk id="91" creationId="{6CE6E245-6D90-A273-F2A0-D60BE5CDAECB}"/>
          </ac:spMkLst>
        </pc:spChg>
        <pc:spChg chg="mod ord">
          <ac:chgData name="Iimura, Jinichi" userId="9e18df6b-b397-4f9f-a1c6-0abee7ae91a5" providerId="ADAL" clId="{8659CC36-693C-479B-B738-87E8E3013C2B}" dt="2025-07-01T02:28:23.249" v="9491"/>
          <ac:spMkLst>
            <pc:docMk/>
            <pc:sldMk cId="481945135" sldId="2147476283"/>
            <ac:spMk id="92" creationId="{FB29D3D2-993B-758A-AE64-338460FA6218}"/>
          </ac:spMkLst>
        </pc:spChg>
        <pc:grpChg chg="del">
          <ac:chgData name="Iimura, Jinichi" userId="9e18df6b-b397-4f9f-a1c6-0abee7ae91a5" providerId="ADAL" clId="{8659CC36-693C-479B-B738-87E8E3013C2B}" dt="2025-07-01T01:55:22.724" v="9121" actId="165"/>
          <ac:grpSpMkLst>
            <pc:docMk/>
            <pc:sldMk cId="481945135" sldId="2147476283"/>
            <ac:grpSpMk id="33" creationId="{2103FB14-5E52-5668-94A0-A9FED5DCB459}"/>
          </ac:grpSpMkLst>
        </pc:grpChg>
        <pc:graphicFrameChg chg="mod">
          <ac:chgData name="Iimura, Jinichi" userId="9e18df6b-b397-4f9f-a1c6-0abee7ae91a5" providerId="ADAL" clId="{8659CC36-693C-479B-B738-87E8E3013C2B}" dt="2025-07-01T02:28:23.252" v="9499"/>
          <ac:graphicFrameMkLst>
            <pc:docMk/>
            <pc:sldMk cId="481945135" sldId="2147476283"/>
            <ac:graphicFrameMk id="7" creationId="{2A84D1DA-97ED-2719-33EF-A13650BDF72A}"/>
          </ac:graphicFrameMkLst>
        </pc:graphicFrameChg>
        <pc:picChg chg="add del mod ord modCrop">
          <ac:chgData name="Iimura, Jinichi" userId="9e18df6b-b397-4f9f-a1c6-0abee7ae91a5" providerId="ADAL" clId="{8659CC36-693C-479B-B738-87E8E3013C2B}" dt="2025-07-01T02:14:38.601" v="9420" actId="478"/>
          <ac:picMkLst>
            <pc:docMk/>
            <pc:sldMk cId="481945135" sldId="2147476283"/>
            <ac:picMk id="2" creationId="{8C12E664-B8FD-399B-A090-A077453F3DED}"/>
          </ac:picMkLst>
        </pc:picChg>
        <pc:picChg chg="add mod ord">
          <ac:chgData name="Iimura, Jinichi" userId="9e18df6b-b397-4f9f-a1c6-0abee7ae91a5" providerId="ADAL" clId="{8659CC36-693C-479B-B738-87E8E3013C2B}" dt="2025-07-01T02:28:23.245" v="9481"/>
          <ac:picMkLst>
            <pc:docMk/>
            <pc:sldMk cId="481945135" sldId="2147476283"/>
            <ac:picMk id="5" creationId="{6A8D6FF8-FDF3-4E76-481E-F068C5C9239F}"/>
          </ac:picMkLst>
        </pc:picChg>
        <pc:picChg chg="add mod ord">
          <ac:chgData name="Iimura, Jinichi" userId="9e18df6b-b397-4f9f-a1c6-0abee7ae91a5" providerId="ADAL" clId="{8659CC36-693C-479B-B738-87E8E3013C2B}" dt="2025-07-01T02:28:23.251" v="9497"/>
          <ac:picMkLst>
            <pc:docMk/>
            <pc:sldMk cId="481945135" sldId="2147476283"/>
            <ac:picMk id="6" creationId="{98FF6A6B-E7BB-5BAE-0FB1-0B1AB215FC9A}"/>
          </ac:picMkLst>
        </pc:picChg>
        <pc:picChg chg="del mod topLvl">
          <ac:chgData name="Iimura, Jinichi" userId="9e18df6b-b397-4f9f-a1c6-0abee7ae91a5" providerId="ADAL" clId="{8659CC36-693C-479B-B738-87E8E3013C2B}" dt="2025-07-01T01:55:24.946" v="9122" actId="478"/>
          <ac:picMkLst>
            <pc:docMk/>
            <pc:sldMk cId="481945135" sldId="2147476283"/>
            <ac:picMk id="23" creationId="{C31E846A-07EE-3E2C-D63B-FD087572E5FA}"/>
          </ac:picMkLst>
        </pc:picChg>
        <pc:picChg chg="del mod topLvl">
          <ac:chgData name="Iimura, Jinichi" userId="9e18df6b-b397-4f9f-a1c6-0abee7ae91a5" providerId="ADAL" clId="{8659CC36-693C-479B-B738-87E8E3013C2B}" dt="2025-07-01T01:55:27.263" v="9125" actId="478"/>
          <ac:picMkLst>
            <pc:docMk/>
            <pc:sldMk cId="481945135" sldId="2147476283"/>
            <ac:picMk id="24" creationId="{F255EA3F-4A23-7B42-7DB3-046DA39E78EC}"/>
          </ac:picMkLst>
        </pc:picChg>
      </pc:sldChg>
      <pc:sldChg chg="addSp delSp modSp add mod ord">
        <pc:chgData name="Iimura, Jinichi" userId="9e18df6b-b397-4f9f-a1c6-0abee7ae91a5" providerId="ADAL" clId="{8659CC36-693C-479B-B738-87E8E3013C2B}" dt="2025-07-02T13:54:27.149" v="13718" actId="20577"/>
        <pc:sldMkLst>
          <pc:docMk/>
          <pc:sldMk cId="4008037957" sldId="2147476284"/>
        </pc:sldMkLst>
        <pc:spChg chg="add del mod">
          <ac:chgData name="Iimura, Jinichi" userId="9e18df6b-b397-4f9f-a1c6-0abee7ae91a5" providerId="ADAL" clId="{8659CC36-693C-479B-B738-87E8E3013C2B}" dt="2025-07-02T07:55:06.988" v="12116" actId="478"/>
          <ac:spMkLst>
            <pc:docMk/>
            <pc:sldMk cId="4008037957" sldId="2147476284"/>
            <ac:spMk id="5" creationId="{A71565C5-8CB4-2E45-AA78-B82CBDF1EAB0}"/>
          </ac:spMkLst>
        </pc:spChg>
        <pc:spChg chg="mod">
          <ac:chgData name="Iimura, Jinichi" userId="9e18df6b-b397-4f9f-a1c6-0abee7ae91a5" providerId="ADAL" clId="{8659CC36-693C-479B-B738-87E8E3013C2B}" dt="2025-07-02T12:51:20.188" v="13402" actId="14100"/>
          <ac:spMkLst>
            <pc:docMk/>
            <pc:sldMk cId="4008037957" sldId="2147476284"/>
            <ac:spMk id="25" creationId="{0CD750F5-E3CB-4EA2-5BB2-32AFA06CD271}"/>
          </ac:spMkLst>
        </pc:spChg>
        <pc:spChg chg="mod">
          <ac:chgData name="Iimura, Jinichi" userId="9e18df6b-b397-4f9f-a1c6-0abee7ae91a5" providerId="ADAL" clId="{8659CC36-693C-479B-B738-87E8E3013C2B}" dt="2025-07-02T13:54:27.149" v="13718" actId="20577"/>
          <ac:spMkLst>
            <pc:docMk/>
            <pc:sldMk cId="4008037957" sldId="2147476284"/>
            <ac:spMk id="30" creationId="{3448C59E-558C-342D-EA1A-7AE67789B08F}"/>
          </ac:spMkLst>
        </pc:spChg>
        <pc:spChg chg="mod">
          <ac:chgData name="Iimura, Jinichi" userId="9e18df6b-b397-4f9f-a1c6-0abee7ae91a5" providerId="ADAL" clId="{8659CC36-693C-479B-B738-87E8E3013C2B}" dt="2025-07-01T01:57:45.103" v="9280" actId="20577"/>
          <ac:spMkLst>
            <pc:docMk/>
            <pc:sldMk cId="4008037957" sldId="2147476284"/>
            <ac:spMk id="91" creationId="{6CE6E245-6D90-A273-F2A0-D60BE5CDAECB}"/>
          </ac:spMkLst>
        </pc:spChg>
        <pc:picChg chg="add del mod">
          <ac:chgData name="Iimura, Jinichi" userId="9e18df6b-b397-4f9f-a1c6-0abee7ae91a5" providerId="ADAL" clId="{8659CC36-693C-479B-B738-87E8E3013C2B}" dt="2025-07-02T12:49:41.696" v="13393" actId="478"/>
          <ac:picMkLst>
            <pc:docMk/>
            <pc:sldMk cId="4008037957" sldId="2147476284"/>
            <ac:picMk id="2" creationId="{8C12E664-B8FD-399B-A090-A077453F3DED}"/>
          </ac:picMkLst>
        </pc:picChg>
        <pc:picChg chg="add mod">
          <ac:chgData name="Iimura, Jinichi" userId="9e18df6b-b397-4f9f-a1c6-0abee7ae91a5" providerId="ADAL" clId="{8659CC36-693C-479B-B738-87E8E3013C2B}" dt="2025-07-02T12:49:54.134" v="13401" actId="1076"/>
          <ac:picMkLst>
            <pc:docMk/>
            <pc:sldMk cId="4008037957" sldId="2147476284"/>
            <ac:picMk id="6" creationId="{06809E60-B9A4-F2EA-5D03-041DE26F8F83}"/>
          </ac:picMkLst>
        </pc:picChg>
      </pc:sldChg>
      <pc:sldChg chg="addSp delSp modSp add mod ord">
        <pc:chgData name="Iimura, Jinichi" userId="9e18df6b-b397-4f9f-a1c6-0abee7ae91a5" providerId="ADAL" clId="{8659CC36-693C-479B-B738-87E8E3013C2B}" dt="2025-07-02T12:09:37.837" v="12633" actId="20577"/>
        <pc:sldMkLst>
          <pc:docMk/>
          <pc:sldMk cId="161549272" sldId="2147476285"/>
        </pc:sldMkLst>
        <pc:spChg chg="del">
          <ac:chgData name="Iimura, Jinichi" userId="9e18df6b-b397-4f9f-a1c6-0abee7ae91a5" providerId="ADAL" clId="{8659CC36-693C-479B-B738-87E8E3013C2B}" dt="2025-07-01T13:56:18.892" v="10877" actId="478"/>
          <ac:spMkLst>
            <pc:docMk/>
            <pc:sldMk cId="161549272" sldId="2147476285"/>
            <ac:spMk id="5" creationId="{A71565C5-8CB4-2E45-AA78-B82CBDF1EAB0}"/>
          </ac:spMkLst>
        </pc:spChg>
        <pc:spChg chg="mod">
          <ac:chgData name="Iimura, Jinichi" userId="9e18df6b-b397-4f9f-a1c6-0abee7ae91a5" providerId="ADAL" clId="{8659CC36-693C-479B-B738-87E8E3013C2B}" dt="2025-07-02T12:09:37.837" v="12633" actId="20577"/>
          <ac:spMkLst>
            <pc:docMk/>
            <pc:sldMk cId="161549272" sldId="2147476285"/>
            <ac:spMk id="30" creationId="{3448C59E-558C-342D-EA1A-7AE67789B08F}"/>
          </ac:spMkLst>
        </pc:spChg>
        <pc:spChg chg="mod">
          <ac:chgData name="Iimura, Jinichi" userId="9e18df6b-b397-4f9f-a1c6-0abee7ae91a5" providerId="ADAL" clId="{8659CC36-693C-479B-B738-87E8E3013C2B}" dt="2025-07-01T14:11:43.832" v="10942" actId="20577"/>
          <ac:spMkLst>
            <pc:docMk/>
            <pc:sldMk cId="161549272" sldId="2147476285"/>
            <ac:spMk id="91" creationId="{6CE6E245-6D90-A273-F2A0-D60BE5CDAECB}"/>
          </ac:spMkLst>
        </pc:spChg>
        <pc:picChg chg="add del">
          <ac:chgData name="Iimura, Jinichi" userId="9e18df6b-b397-4f9f-a1c6-0abee7ae91a5" providerId="ADAL" clId="{8659CC36-693C-479B-B738-87E8E3013C2B}" dt="2025-07-01T08:53:17.608" v="10863" actId="478"/>
          <ac:picMkLst>
            <pc:docMk/>
            <pc:sldMk cId="161549272" sldId="2147476285"/>
            <ac:picMk id="2" creationId="{8C12E664-B8FD-399B-A090-A077453F3DED}"/>
          </ac:picMkLst>
        </pc:picChg>
        <pc:picChg chg="add mod">
          <ac:chgData name="Iimura, Jinichi" userId="9e18df6b-b397-4f9f-a1c6-0abee7ae91a5" providerId="ADAL" clId="{8659CC36-693C-479B-B738-87E8E3013C2B}" dt="2025-07-02T07:52:21.416" v="12102" actId="1076"/>
          <ac:picMkLst>
            <pc:docMk/>
            <pc:sldMk cId="161549272" sldId="2147476285"/>
            <ac:picMk id="6" creationId="{4EC1523F-75FD-2C47-F1E6-EC2EA55CD677}"/>
          </ac:picMkLst>
        </pc:picChg>
        <pc:picChg chg="add del mod">
          <ac:chgData name="Iimura, Jinichi" userId="9e18df6b-b397-4f9f-a1c6-0abee7ae91a5" providerId="ADAL" clId="{8659CC36-693C-479B-B738-87E8E3013C2B}" dt="2025-07-01T23:21:56.452" v="11177" actId="21"/>
          <ac:picMkLst>
            <pc:docMk/>
            <pc:sldMk cId="161549272" sldId="2147476285"/>
            <ac:picMk id="8" creationId="{2C529C48-C1D9-5E60-133A-5BD5CE259203}"/>
          </ac:picMkLst>
        </pc:picChg>
        <pc:picChg chg="add mod modCrop">
          <ac:chgData name="Iimura, Jinichi" userId="9e18df6b-b397-4f9f-a1c6-0abee7ae91a5" providerId="ADAL" clId="{8659CC36-693C-479B-B738-87E8E3013C2B}" dt="2025-07-02T07:53:32.460" v="12115" actId="1076"/>
          <ac:picMkLst>
            <pc:docMk/>
            <pc:sldMk cId="161549272" sldId="2147476285"/>
            <ac:picMk id="9" creationId="{BF8B5062-6D3C-61F3-F0CB-25C35D2ED8C1}"/>
          </ac:picMkLst>
        </pc:picChg>
      </pc:sldChg>
      <pc:sldChg chg="delSp add del mod ord">
        <pc:chgData name="Iimura, Jinichi" userId="9e18df6b-b397-4f9f-a1c6-0abee7ae91a5" providerId="ADAL" clId="{8659CC36-693C-479B-B738-87E8E3013C2B}" dt="2025-07-01T14:11:49.763" v="10943" actId="47"/>
        <pc:sldMkLst>
          <pc:docMk/>
          <pc:sldMk cId="3297010211" sldId="2147476286"/>
        </pc:sldMkLst>
        <pc:picChg chg="del">
          <ac:chgData name="Iimura, Jinichi" userId="9e18df6b-b397-4f9f-a1c6-0abee7ae91a5" providerId="ADAL" clId="{8659CC36-693C-479B-B738-87E8E3013C2B}" dt="2025-07-01T08:53:19.365" v="10864" actId="478"/>
          <ac:picMkLst>
            <pc:docMk/>
            <pc:sldMk cId="3297010211" sldId="2147476286"/>
            <ac:picMk id="2" creationId="{8C12E664-B8FD-399B-A090-A077453F3DED}"/>
          </ac:picMkLst>
        </pc:picChg>
      </pc:sldChg>
      <pc:sldChg chg="delSp add del mod ord">
        <pc:chgData name="Iimura, Jinichi" userId="9e18df6b-b397-4f9f-a1c6-0abee7ae91a5" providerId="ADAL" clId="{8659CC36-693C-479B-B738-87E8E3013C2B}" dt="2025-07-01T14:11:58.405" v="10944" actId="47"/>
        <pc:sldMkLst>
          <pc:docMk/>
          <pc:sldMk cId="1010696978" sldId="2147476287"/>
        </pc:sldMkLst>
        <pc:picChg chg="del">
          <ac:chgData name="Iimura, Jinichi" userId="9e18df6b-b397-4f9f-a1c6-0abee7ae91a5" providerId="ADAL" clId="{8659CC36-693C-479B-B738-87E8E3013C2B}" dt="2025-07-01T08:53:21.020" v="10865" actId="478"/>
          <ac:picMkLst>
            <pc:docMk/>
            <pc:sldMk cId="1010696978" sldId="2147476287"/>
            <ac:picMk id="2" creationId="{8C12E664-B8FD-399B-A090-A077453F3DED}"/>
          </ac:picMkLst>
        </pc:picChg>
      </pc:sldChg>
      <pc:sldChg chg="add del">
        <pc:chgData name="Iimura, Jinichi" userId="9e18df6b-b397-4f9f-a1c6-0abee7ae91a5" providerId="ADAL" clId="{8659CC36-693C-479B-B738-87E8E3013C2B}" dt="2025-07-01T14:12:00.010" v="10945" actId="47"/>
        <pc:sldMkLst>
          <pc:docMk/>
          <pc:sldMk cId="2581572398" sldId="2147476288"/>
        </pc:sldMkLst>
      </pc:sldChg>
      <pc:sldChg chg="add del">
        <pc:chgData name="Iimura, Jinichi" userId="9e18df6b-b397-4f9f-a1c6-0abee7ae91a5" providerId="ADAL" clId="{8659CC36-693C-479B-B738-87E8E3013C2B}" dt="2025-07-01T14:12:00.499" v="10946" actId="47"/>
        <pc:sldMkLst>
          <pc:docMk/>
          <pc:sldMk cId="3460085208" sldId="2147476289"/>
        </pc:sldMkLst>
      </pc:sldChg>
      <pc:sldChg chg="add del">
        <pc:chgData name="Iimura, Jinichi" userId="9e18df6b-b397-4f9f-a1c6-0abee7ae91a5" providerId="ADAL" clId="{8659CC36-693C-479B-B738-87E8E3013C2B}" dt="2025-07-01T14:12:01.059" v="10947" actId="47"/>
        <pc:sldMkLst>
          <pc:docMk/>
          <pc:sldMk cId="1681634157" sldId="2147476290"/>
        </pc:sldMkLst>
      </pc:sldChg>
      <pc:sldChg chg="add del">
        <pc:chgData name="Iimura, Jinichi" userId="9e18df6b-b397-4f9f-a1c6-0abee7ae91a5" providerId="ADAL" clId="{8659CC36-693C-479B-B738-87E8E3013C2B}" dt="2025-07-01T14:12:02.098" v="10948" actId="47"/>
        <pc:sldMkLst>
          <pc:docMk/>
          <pc:sldMk cId="1716369836" sldId="2147476291"/>
        </pc:sldMkLst>
      </pc:sldChg>
      <pc:sldChg chg="add del">
        <pc:chgData name="Iimura, Jinichi" userId="9e18df6b-b397-4f9f-a1c6-0abee7ae91a5" providerId="ADAL" clId="{8659CC36-693C-479B-B738-87E8E3013C2B}" dt="2025-07-01T14:12:02.611" v="10949" actId="47"/>
        <pc:sldMkLst>
          <pc:docMk/>
          <pc:sldMk cId="960881066" sldId="2147476292"/>
        </pc:sldMkLst>
      </pc:sldChg>
      <pc:sldChg chg="add del">
        <pc:chgData name="Iimura, Jinichi" userId="9e18df6b-b397-4f9f-a1c6-0abee7ae91a5" providerId="ADAL" clId="{8659CC36-693C-479B-B738-87E8E3013C2B}" dt="2025-07-01T14:12:04.210" v="10950" actId="47"/>
        <pc:sldMkLst>
          <pc:docMk/>
          <pc:sldMk cId="2027965430" sldId="2147476293"/>
        </pc:sldMkLst>
      </pc:sldChg>
      <pc:sldChg chg="addSp delSp modSp add del mod">
        <pc:chgData name="Iimura, Jinichi" userId="9e18df6b-b397-4f9f-a1c6-0abee7ae91a5" providerId="ADAL" clId="{8659CC36-693C-479B-B738-87E8E3013C2B}" dt="2025-07-02T13:10:03.902" v="13708" actId="47"/>
        <pc:sldMkLst>
          <pc:docMk/>
          <pc:sldMk cId="1490771321" sldId="2147476294"/>
        </pc:sldMkLst>
        <pc:spChg chg="add mod">
          <ac:chgData name="Iimura, Jinichi" userId="9e18df6b-b397-4f9f-a1c6-0abee7ae91a5" providerId="ADAL" clId="{8659CC36-693C-479B-B738-87E8E3013C2B}" dt="2025-07-02T13:08:50.694" v="13566" actId="571"/>
          <ac:spMkLst>
            <pc:docMk/>
            <pc:sldMk cId="1490771321" sldId="2147476294"/>
            <ac:spMk id="2" creationId="{88A5C9B5-3DC7-342B-40DF-319084718637}"/>
          </ac:spMkLst>
        </pc:spChg>
        <pc:spChg chg="add mod">
          <ac:chgData name="Iimura, Jinichi" userId="9e18df6b-b397-4f9f-a1c6-0abee7ae91a5" providerId="ADAL" clId="{8659CC36-693C-479B-B738-87E8E3013C2B}" dt="2025-07-02T13:08:50.694" v="13566" actId="571"/>
          <ac:spMkLst>
            <pc:docMk/>
            <pc:sldMk cId="1490771321" sldId="2147476294"/>
            <ac:spMk id="5" creationId="{EE014488-84B1-C0CD-B1AA-B3B74135C79B}"/>
          </ac:spMkLst>
        </pc:spChg>
        <pc:spChg chg="add mod">
          <ac:chgData name="Iimura, Jinichi" userId="9e18df6b-b397-4f9f-a1c6-0abee7ae91a5" providerId="ADAL" clId="{8659CC36-693C-479B-B738-87E8E3013C2B}" dt="2025-07-02T13:09:30.182" v="13707" actId="20577"/>
          <ac:spMkLst>
            <pc:docMk/>
            <pc:sldMk cId="1490771321" sldId="2147476294"/>
            <ac:spMk id="6" creationId="{08D7C8C5-2A83-AD8D-CB53-9BDD9CAA7AD1}"/>
          </ac:spMkLst>
        </pc:spChg>
        <pc:spChg chg="add del mod">
          <ac:chgData name="Iimura, Jinichi" userId="9e18df6b-b397-4f9f-a1c6-0abee7ae91a5" providerId="ADAL" clId="{8659CC36-693C-479B-B738-87E8E3013C2B}" dt="2025-07-02T13:08:48.917" v="13564" actId="1076"/>
          <ac:spMkLst>
            <pc:docMk/>
            <pc:sldMk cId="1490771321" sldId="2147476294"/>
            <ac:spMk id="25" creationId="{0CD750F5-E3CB-4EA2-5BB2-32AFA06CD271}"/>
          </ac:spMkLst>
        </pc:spChg>
        <pc:spChg chg="add del mod">
          <ac:chgData name="Iimura, Jinichi" userId="9e18df6b-b397-4f9f-a1c6-0abee7ae91a5" providerId="ADAL" clId="{8659CC36-693C-479B-B738-87E8E3013C2B}" dt="2025-07-02T13:08:48.917" v="13564" actId="1076"/>
          <ac:spMkLst>
            <pc:docMk/>
            <pc:sldMk cId="1490771321" sldId="2147476294"/>
            <ac:spMk id="30" creationId="{3448C59E-558C-342D-EA1A-7AE67789B08F}"/>
          </ac:spMkLst>
        </pc:spChg>
        <pc:spChg chg="mod">
          <ac:chgData name="Iimura, Jinichi" userId="9e18df6b-b397-4f9f-a1c6-0abee7ae91a5" providerId="ADAL" clId="{8659CC36-693C-479B-B738-87E8E3013C2B}" dt="2025-07-02T13:08:44.172" v="13563" actId="6549"/>
          <ac:spMkLst>
            <pc:docMk/>
            <pc:sldMk cId="1490771321" sldId="2147476294"/>
            <ac:spMk id="91" creationId="{6CE6E245-6D90-A273-F2A0-D60BE5CDAECB}"/>
          </ac:spMkLst>
        </pc:spChg>
        <pc:graphicFrameChg chg="mod">
          <ac:chgData name="Iimura, Jinichi" userId="9e18df6b-b397-4f9f-a1c6-0abee7ae91a5" providerId="ADAL" clId="{8659CC36-693C-479B-B738-87E8E3013C2B}" dt="2025-07-02T13:08:31.814" v="13527" actId="1076"/>
          <ac:graphicFrameMkLst>
            <pc:docMk/>
            <pc:sldMk cId="1490771321" sldId="2147476294"/>
            <ac:graphicFrameMk id="7" creationId="{2A84D1DA-97ED-2719-33EF-A13650BDF72A}"/>
          </ac:graphicFrameMkLst>
        </pc:graphicFrameChg>
      </pc:sldChg>
      <pc:sldChg chg="addSp modSp add mod">
        <pc:chgData name="Iimura, Jinichi" userId="9e18df6b-b397-4f9f-a1c6-0abee7ae91a5" providerId="ADAL" clId="{8659CC36-693C-479B-B738-87E8E3013C2B}" dt="2025-07-02T09:09:13.423" v="12327" actId="20577"/>
        <pc:sldMkLst>
          <pc:docMk/>
          <pc:sldMk cId="1712149576" sldId="2147476295"/>
        </pc:sldMkLst>
        <pc:spChg chg="add mod">
          <ac:chgData name="Iimura, Jinichi" userId="9e18df6b-b397-4f9f-a1c6-0abee7ae91a5" providerId="ADAL" clId="{8659CC36-693C-479B-B738-87E8E3013C2B}" dt="2025-07-02T08:16:18.283" v="12143" actId="571"/>
          <ac:spMkLst>
            <pc:docMk/>
            <pc:sldMk cId="1712149576" sldId="2147476295"/>
            <ac:spMk id="6" creationId="{63EDB44C-E46B-2EC1-EC9D-5F93C9F1B6C9}"/>
          </ac:spMkLst>
        </pc:spChg>
        <pc:spChg chg="mod">
          <ac:chgData name="Iimura, Jinichi" userId="9e18df6b-b397-4f9f-a1c6-0abee7ae91a5" providerId="ADAL" clId="{8659CC36-693C-479B-B738-87E8E3013C2B}" dt="2025-07-02T08:16:31.802" v="12152" actId="14100"/>
          <ac:spMkLst>
            <pc:docMk/>
            <pc:sldMk cId="1712149576" sldId="2147476295"/>
            <ac:spMk id="25" creationId="{0CD750F5-E3CB-4EA2-5BB2-32AFA06CD271}"/>
          </ac:spMkLst>
        </pc:spChg>
        <pc:spChg chg="mod">
          <ac:chgData name="Iimura, Jinichi" userId="9e18df6b-b397-4f9f-a1c6-0abee7ae91a5" providerId="ADAL" clId="{8659CC36-693C-479B-B738-87E8E3013C2B}" dt="2025-07-02T09:09:13.423" v="12327" actId="20577"/>
          <ac:spMkLst>
            <pc:docMk/>
            <pc:sldMk cId="1712149576" sldId="2147476295"/>
            <ac:spMk id="30" creationId="{3448C59E-558C-342D-EA1A-7AE67789B08F}"/>
          </ac:spMkLst>
        </pc:spChg>
        <pc:spChg chg="mod">
          <ac:chgData name="Iimura, Jinichi" userId="9e18df6b-b397-4f9f-a1c6-0abee7ae91a5" providerId="ADAL" clId="{8659CC36-693C-479B-B738-87E8E3013C2B}" dt="2025-07-01T14:12:39.951" v="10973" actId="20577"/>
          <ac:spMkLst>
            <pc:docMk/>
            <pc:sldMk cId="1712149576" sldId="2147476295"/>
            <ac:spMk id="91" creationId="{6CE6E245-6D90-A273-F2A0-D60BE5CDAECB}"/>
          </ac:spMkLst>
        </pc:spChg>
        <pc:grpChg chg="add mod">
          <ac:chgData name="Iimura, Jinichi" userId="9e18df6b-b397-4f9f-a1c6-0abee7ae91a5" providerId="ADAL" clId="{8659CC36-693C-479B-B738-87E8E3013C2B}" dt="2025-07-02T08:16:32.928" v="12153" actId="14100"/>
          <ac:grpSpMkLst>
            <pc:docMk/>
            <pc:sldMk cId="1712149576" sldId="2147476295"/>
            <ac:grpSpMk id="5" creationId="{151AF72A-6D3C-D9EC-32B0-B430C73D68DC}"/>
          </ac:grpSpMkLst>
        </pc:grpChg>
        <pc:grpChg chg="add mod">
          <ac:chgData name="Iimura, Jinichi" userId="9e18df6b-b397-4f9f-a1c6-0abee7ae91a5" providerId="ADAL" clId="{8659CC36-693C-479B-B738-87E8E3013C2B}" dt="2025-07-02T08:16:18.283" v="12143" actId="571"/>
          <ac:grpSpMkLst>
            <pc:docMk/>
            <pc:sldMk cId="1712149576" sldId="2147476295"/>
            <ac:grpSpMk id="9" creationId="{DD890B38-6CF7-EB92-4064-51DC6DB5E045}"/>
          </ac:grpSpMkLst>
        </pc:grpChg>
        <pc:picChg chg="add mod modCrop">
          <ac:chgData name="Iimura, Jinichi" userId="9e18df6b-b397-4f9f-a1c6-0abee7ae91a5" providerId="ADAL" clId="{8659CC36-693C-479B-B738-87E8E3013C2B}" dt="2025-07-02T08:15:38.094" v="12131" actId="164"/>
          <ac:picMkLst>
            <pc:docMk/>
            <pc:sldMk cId="1712149576" sldId="2147476295"/>
            <ac:picMk id="2" creationId="{F689D93A-7A1B-F249-E32F-FA9AB09086C3}"/>
          </ac:picMkLst>
        </pc:picChg>
        <pc:picChg chg="add mod">
          <ac:chgData name="Iimura, Jinichi" userId="9e18df6b-b397-4f9f-a1c6-0abee7ae91a5" providerId="ADAL" clId="{8659CC36-693C-479B-B738-87E8E3013C2B}" dt="2025-07-02T08:15:38.094" v="12131" actId="164"/>
          <ac:picMkLst>
            <pc:docMk/>
            <pc:sldMk cId="1712149576" sldId="2147476295"/>
            <ac:picMk id="8" creationId="{2C529C48-C1D9-5E60-133A-5BD5CE259203}"/>
          </ac:picMkLst>
        </pc:picChg>
        <pc:picChg chg="mod">
          <ac:chgData name="Iimura, Jinichi" userId="9e18df6b-b397-4f9f-a1c6-0abee7ae91a5" providerId="ADAL" clId="{8659CC36-693C-479B-B738-87E8E3013C2B}" dt="2025-07-02T08:16:18.283" v="12143" actId="571"/>
          <ac:picMkLst>
            <pc:docMk/>
            <pc:sldMk cId="1712149576" sldId="2147476295"/>
            <ac:picMk id="10" creationId="{A5283AB0-7DF1-2ACD-B136-35ED429FA0C0}"/>
          </ac:picMkLst>
        </pc:picChg>
        <pc:picChg chg="mod">
          <ac:chgData name="Iimura, Jinichi" userId="9e18df6b-b397-4f9f-a1c6-0abee7ae91a5" providerId="ADAL" clId="{8659CC36-693C-479B-B738-87E8E3013C2B}" dt="2025-07-02T08:16:18.283" v="12143" actId="571"/>
          <ac:picMkLst>
            <pc:docMk/>
            <pc:sldMk cId="1712149576" sldId="2147476295"/>
            <ac:picMk id="11" creationId="{1234F027-9F25-4646-4FCE-B60E97054983}"/>
          </ac:picMkLst>
        </pc:picChg>
      </pc:sldChg>
      <pc:sldChg chg="addSp modSp add mod">
        <pc:chgData name="Iimura, Jinichi" userId="9e18df6b-b397-4f9f-a1c6-0abee7ae91a5" providerId="ADAL" clId="{8659CC36-693C-479B-B738-87E8E3013C2B}" dt="2025-07-02T12:10:43.516" v="12671" actId="20577"/>
        <pc:sldMkLst>
          <pc:docMk/>
          <pc:sldMk cId="2238522532" sldId="2147476296"/>
        </pc:sldMkLst>
        <pc:spChg chg="mod">
          <ac:chgData name="Iimura, Jinichi" userId="9e18df6b-b397-4f9f-a1c6-0abee7ae91a5" providerId="ADAL" clId="{8659CC36-693C-479B-B738-87E8E3013C2B}" dt="2025-07-02T12:10:43.516" v="12671" actId="20577"/>
          <ac:spMkLst>
            <pc:docMk/>
            <pc:sldMk cId="2238522532" sldId="2147476296"/>
            <ac:spMk id="30" creationId="{3448C59E-558C-342D-EA1A-7AE67789B08F}"/>
          </ac:spMkLst>
        </pc:spChg>
        <pc:spChg chg="mod">
          <ac:chgData name="Iimura, Jinichi" userId="9e18df6b-b397-4f9f-a1c6-0abee7ae91a5" providerId="ADAL" clId="{8659CC36-693C-479B-B738-87E8E3013C2B}" dt="2025-07-01T14:12:50.326" v="10982" actId="20577"/>
          <ac:spMkLst>
            <pc:docMk/>
            <pc:sldMk cId="2238522532" sldId="2147476296"/>
            <ac:spMk id="91" creationId="{6CE6E245-6D90-A273-F2A0-D60BE5CDAECB}"/>
          </ac:spMkLst>
        </pc:spChg>
        <pc:picChg chg="add mod">
          <ac:chgData name="Iimura, Jinichi" userId="9e18df6b-b397-4f9f-a1c6-0abee7ae91a5" providerId="ADAL" clId="{8659CC36-693C-479B-B738-87E8E3013C2B}" dt="2025-07-01T23:22:06.768" v="11181" actId="1076"/>
          <ac:picMkLst>
            <pc:docMk/>
            <pc:sldMk cId="2238522532" sldId="2147476296"/>
            <ac:picMk id="2" creationId="{A46B69D1-E953-78CF-6A14-F1F81E8DF744}"/>
          </ac:picMkLst>
        </pc:picChg>
      </pc:sldChg>
      <pc:sldChg chg="addSp delSp modSp add mod">
        <pc:chgData name="Iimura, Jinichi" userId="9e18df6b-b397-4f9f-a1c6-0abee7ae91a5" providerId="ADAL" clId="{8659CC36-693C-479B-B738-87E8E3013C2B}" dt="2025-07-03T02:36:22.586" v="14257" actId="20577"/>
        <pc:sldMkLst>
          <pc:docMk/>
          <pc:sldMk cId="2737910143" sldId="2147476297"/>
        </pc:sldMkLst>
        <pc:spChg chg="mod">
          <ac:chgData name="Iimura, Jinichi" userId="9e18df6b-b397-4f9f-a1c6-0abee7ae91a5" providerId="ADAL" clId="{8659CC36-693C-479B-B738-87E8E3013C2B}" dt="2025-07-03T02:36:02.517" v="14235" actId="20577"/>
          <ac:spMkLst>
            <pc:docMk/>
            <pc:sldMk cId="2737910143" sldId="2147476297"/>
            <ac:spMk id="10" creationId="{94307921-BF3C-2D2B-4FBB-516451744E86}"/>
          </ac:spMkLst>
        </pc:spChg>
        <pc:spChg chg="mod">
          <ac:chgData name="Iimura, Jinichi" userId="9e18df6b-b397-4f9f-a1c6-0abee7ae91a5" providerId="ADAL" clId="{8659CC36-693C-479B-B738-87E8E3013C2B}" dt="2025-07-03T02:36:22.586" v="14257" actId="20577"/>
          <ac:spMkLst>
            <pc:docMk/>
            <pc:sldMk cId="2737910143" sldId="2147476297"/>
            <ac:spMk id="14" creationId="{F000ED2C-4B6D-2C0C-F4F7-D1256B4BBDCE}"/>
          </ac:spMkLst>
        </pc:spChg>
        <pc:spChg chg="mod">
          <ac:chgData name="Iimura, Jinichi" userId="9e18df6b-b397-4f9f-a1c6-0abee7ae91a5" providerId="ADAL" clId="{8659CC36-693C-479B-B738-87E8E3013C2B}" dt="2025-07-02T12:11:18.128" v="12727" actId="20577"/>
          <ac:spMkLst>
            <pc:docMk/>
            <pc:sldMk cId="2737910143" sldId="2147476297"/>
            <ac:spMk id="30" creationId="{3448C59E-558C-342D-EA1A-7AE67789B08F}"/>
          </ac:spMkLst>
        </pc:spChg>
        <pc:spChg chg="mod">
          <ac:chgData name="Iimura, Jinichi" userId="9e18df6b-b397-4f9f-a1c6-0abee7ae91a5" providerId="ADAL" clId="{8659CC36-693C-479B-B738-87E8E3013C2B}" dt="2025-07-01T14:12:58.043" v="10993" actId="20577"/>
          <ac:spMkLst>
            <pc:docMk/>
            <pc:sldMk cId="2737910143" sldId="2147476297"/>
            <ac:spMk id="91" creationId="{6CE6E245-6D90-A273-F2A0-D60BE5CDAECB}"/>
          </ac:spMkLst>
        </pc:spChg>
        <pc:picChg chg="add mod">
          <ac:chgData name="Iimura, Jinichi" userId="9e18df6b-b397-4f9f-a1c6-0abee7ae91a5" providerId="ADAL" clId="{8659CC36-693C-479B-B738-87E8E3013C2B}" dt="2025-07-01T23:22:49.397" v="11191" actId="1076"/>
          <ac:picMkLst>
            <pc:docMk/>
            <pc:sldMk cId="2737910143" sldId="2147476297"/>
            <ac:picMk id="2" creationId="{C9B66B76-9639-2E08-8AED-0AA12D74685D}"/>
          </ac:picMkLst>
        </pc:picChg>
        <pc:picChg chg="add del mod">
          <ac:chgData name="Iimura, Jinichi" userId="9e18df6b-b397-4f9f-a1c6-0abee7ae91a5" providerId="ADAL" clId="{8659CC36-693C-479B-B738-87E8E3013C2B}" dt="2025-07-01T23:22:26.613" v="11186" actId="478"/>
          <ac:picMkLst>
            <pc:docMk/>
            <pc:sldMk cId="2737910143" sldId="2147476297"/>
            <ac:picMk id="5" creationId="{C9B66B76-9639-2E08-8AED-0AA12D74685D}"/>
          </ac:picMkLst>
        </pc:picChg>
        <pc:picChg chg="add mod">
          <ac:chgData name="Iimura, Jinichi" userId="9e18df6b-b397-4f9f-a1c6-0abee7ae91a5" providerId="ADAL" clId="{8659CC36-693C-479B-B738-87E8E3013C2B}" dt="2025-07-01T23:22:50.432" v="11192" actId="1076"/>
          <ac:picMkLst>
            <pc:docMk/>
            <pc:sldMk cId="2737910143" sldId="2147476297"/>
            <ac:picMk id="6" creationId="{4E624490-0F2C-D065-D8DA-F2FEFA6DD56D}"/>
          </ac:picMkLst>
        </pc:picChg>
        <pc:picChg chg="add mod">
          <ac:chgData name="Iimura, Jinichi" userId="9e18df6b-b397-4f9f-a1c6-0abee7ae91a5" providerId="ADAL" clId="{8659CC36-693C-479B-B738-87E8E3013C2B}" dt="2025-07-01T23:22:51.947" v="11193" actId="1076"/>
          <ac:picMkLst>
            <pc:docMk/>
            <pc:sldMk cId="2737910143" sldId="2147476297"/>
            <ac:picMk id="8" creationId="{98D6103D-A34E-6B76-8647-68F7980A563C}"/>
          </ac:picMkLst>
        </pc:picChg>
      </pc:sldChg>
      <pc:sldChg chg="addSp modSp add mod">
        <pc:chgData name="Iimura, Jinichi" userId="9e18df6b-b397-4f9f-a1c6-0abee7ae91a5" providerId="ADAL" clId="{8659CC36-693C-479B-B738-87E8E3013C2B}" dt="2025-07-01T23:23:07.403" v="11197" actId="1076"/>
        <pc:sldMkLst>
          <pc:docMk/>
          <pc:sldMk cId="196848279" sldId="2147476298"/>
        </pc:sldMkLst>
        <pc:spChg chg="mod">
          <ac:chgData name="Iimura, Jinichi" userId="9e18df6b-b397-4f9f-a1c6-0abee7ae91a5" providerId="ADAL" clId="{8659CC36-693C-479B-B738-87E8E3013C2B}" dt="2025-07-01T14:13:07.606" v="11003" actId="20577"/>
          <ac:spMkLst>
            <pc:docMk/>
            <pc:sldMk cId="196848279" sldId="2147476298"/>
            <ac:spMk id="91" creationId="{6CE6E245-6D90-A273-F2A0-D60BE5CDAECB}"/>
          </ac:spMkLst>
        </pc:spChg>
        <pc:picChg chg="add mod">
          <ac:chgData name="Iimura, Jinichi" userId="9e18df6b-b397-4f9f-a1c6-0abee7ae91a5" providerId="ADAL" clId="{8659CC36-693C-479B-B738-87E8E3013C2B}" dt="2025-07-01T23:23:07.403" v="11197" actId="1076"/>
          <ac:picMkLst>
            <pc:docMk/>
            <pc:sldMk cId="196848279" sldId="2147476298"/>
            <ac:picMk id="2" creationId="{3D02A744-E9CF-DBFD-834A-29905FDAB33A}"/>
          </ac:picMkLst>
        </pc:picChg>
      </pc:sldChg>
      <pc:sldChg chg="addSp modSp add mod">
        <pc:chgData name="Iimura, Jinichi" userId="9e18df6b-b397-4f9f-a1c6-0abee7ae91a5" providerId="ADAL" clId="{8659CC36-693C-479B-B738-87E8E3013C2B}" dt="2025-07-01T23:23:14.649" v="11199" actId="1076"/>
        <pc:sldMkLst>
          <pc:docMk/>
          <pc:sldMk cId="3767265030" sldId="2147476299"/>
        </pc:sldMkLst>
        <pc:spChg chg="mod">
          <ac:chgData name="Iimura, Jinichi" userId="9e18df6b-b397-4f9f-a1c6-0abee7ae91a5" providerId="ADAL" clId="{8659CC36-693C-479B-B738-87E8E3013C2B}" dt="2025-07-01T14:13:14.639" v="11013" actId="20577"/>
          <ac:spMkLst>
            <pc:docMk/>
            <pc:sldMk cId="3767265030" sldId="2147476299"/>
            <ac:spMk id="91" creationId="{6CE6E245-6D90-A273-F2A0-D60BE5CDAECB}"/>
          </ac:spMkLst>
        </pc:spChg>
        <pc:picChg chg="add mod">
          <ac:chgData name="Iimura, Jinichi" userId="9e18df6b-b397-4f9f-a1c6-0abee7ae91a5" providerId="ADAL" clId="{8659CC36-693C-479B-B738-87E8E3013C2B}" dt="2025-07-01T23:23:14.649" v="11199" actId="1076"/>
          <ac:picMkLst>
            <pc:docMk/>
            <pc:sldMk cId="3767265030" sldId="2147476299"/>
            <ac:picMk id="2" creationId="{C68711ED-7089-DABE-E46E-29B39FB6C847}"/>
          </ac:picMkLst>
        </pc:picChg>
      </pc:sldChg>
      <pc:sldChg chg="addSp modSp add mod">
        <pc:chgData name="Iimura, Jinichi" userId="9e18df6b-b397-4f9f-a1c6-0abee7ae91a5" providerId="ADAL" clId="{8659CC36-693C-479B-B738-87E8E3013C2B}" dt="2025-07-02T12:26:34.019" v="12779" actId="20577"/>
        <pc:sldMkLst>
          <pc:docMk/>
          <pc:sldMk cId="1698583822" sldId="2147476300"/>
        </pc:sldMkLst>
        <pc:spChg chg="mod">
          <ac:chgData name="Iimura, Jinichi" userId="9e18df6b-b397-4f9f-a1c6-0abee7ae91a5" providerId="ADAL" clId="{8659CC36-693C-479B-B738-87E8E3013C2B}" dt="2025-07-02T12:26:34.019" v="12779" actId="20577"/>
          <ac:spMkLst>
            <pc:docMk/>
            <pc:sldMk cId="1698583822" sldId="2147476300"/>
            <ac:spMk id="8" creationId="{2E712169-3A23-51EC-7DEB-37FB03D6B67B}"/>
          </ac:spMkLst>
        </pc:spChg>
        <pc:spChg chg="mod">
          <ac:chgData name="Iimura, Jinichi" userId="9e18df6b-b397-4f9f-a1c6-0abee7ae91a5" providerId="ADAL" clId="{8659CC36-693C-479B-B738-87E8E3013C2B}" dt="2025-07-02T12:13:35.963" v="12776" actId="20577"/>
          <ac:spMkLst>
            <pc:docMk/>
            <pc:sldMk cId="1698583822" sldId="2147476300"/>
            <ac:spMk id="30" creationId="{3448C59E-558C-342D-EA1A-7AE67789B08F}"/>
          </ac:spMkLst>
        </pc:spChg>
        <pc:spChg chg="mod">
          <ac:chgData name="Iimura, Jinichi" userId="9e18df6b-b397-4f9f-a1c6-0abee7ae91a5" providerId="ADAL" clId="{8659CC36-693C-479B-B738-87E8E3013C2B}" dt="2025-07-01T14:13:36.019" v="11042" actId="20577"/>
          <ac:spMkLst>
            <pc:docMk/>
            <pc:sldMk cId="1698583822" sldId="2147476300"/>
            <ac:spMk id="91" creationId="{6CE6E245-6D90-A273-F2A0-D60BE5CDAECB}"/>
          </ac:spMkLst>
        </pc:spChg>
        <pc:picChg chg="add mod">
          <ac:chgData name="Iimura, Jinichi" userId="9e18df6b-b397-4f9f-a1c6-0abee7ae91a5" providerId="ADAL" clId="{8659CC36-693C-479B-B738-87E8E3013C2B}" dt="2025-07-01T23:23:35.695" v="11204" actId="1076"/>
          <ac:picMkLst>
            <pc:docMk/>
            <pc:sldMk cId="1698583822" sldId="2147476300"/>
            <ac:picMk id="2" creationId="{82AE1480-35D0-3B20-43DE-696F3DF2EBE0}"/>
          </ac:picMkLst>
        </pc:picChg>
        <pc:picChg chg="add mod">
          <ac:chgData name="Iimura, Jinichi" userId="9e18df6b-b397-4f9f-a1c6-0abee7ae91a5" providerId="ADAL" clId="{8659CC36-693C-479B-B738-87E8E3013C2B}" dt="2025-07-01T23:23:35.695" v="11204" actId="1076"/>
          <ac:picMkLst>
            <pc:docMk/>
            <pc:sldMk cId="1698583822" sldId="2147476300"/>
            <ac:picMk id="5" creationId="{857056E4-D473-087C-7B81-CD120B7CAC84}"/>
          </ac:picMkLst>
        </pc:picChg>
      </pc:sldChg>
      <pc:sldChg chg="addSp modSp add mod ord">
        <pc:chgData name="Iimura, Jinichi" userId="9e18df6b-b397-4f9f-a1c6-0abee7ae91a5" providerId="ADAL" clId="{8659CC36-693C-479B-B738-87E8E3013C2B}" dt="2025-07-02T12:12:02.289" v="12734" actId="20577"/>
        <pc:sldMkLst>
          <pc:docMk/>
          <pc:sldMk cId="2955133890" sldId="2147476301"/>
        </pc:sldMkLst>
        <pc:spChg chg="mod">
          <ac:chgData name="Iimura, Jinichi" userId="9e18df6b-b397-4f9f-a1c6-0abee7ae91a5" providerId="ADAL" clId="{8659CC36-693C-479B-B738-87E8E3013C2B}" dt="2025-07-02T12:12:02.289" v="12734" actId="20577"/>
          <ac:spMkLst>
            <pc:docMk/>
            <pc:sldMk cId="2955133890" sldId="2147476301"/>
            <ac:spMk id="30" creationId="{3448C59E-558C-342D-EA1A-7AE67789B08F}"/>
          </ac:spMkLst>
        </pc:spChg>
        <pc:spChg chg="mod">
          <ac:chgData name="Iimura, Jinichi" userId="9e18df6b-b397-4f9f-a1c6-0abee7ae91a5" providerId="ADAL" clId="{8659CC36-693C-479B-B738-87E8E3013C2B}" dt="2025-07-01T23:12:06.623" v="11167" actId="20577"/>
          <ac:spMkLst>
            <pc:docMk/>
            <pc:sldMk cId="2955133890" sldId="2147476301"/>
            <ac:spMk id="91" creationId="{6CE6E245-6D90-A273-F2A0-D60BE5CDAECB}"/>
          </ac:spMkLst>
        </pc:spChg>
        <pc:picChg chg="add mod">
          <ac:chgData name="Iimura, Jinichi" userId="9e18df6b-b397-4f9f-a1c6-0abee7ae91a5" providerId="ADAL" clId="{8659CC36-693C-479B-B738-87E8E3013C2B}" dt="2025-07-01T23:23:01.187" v="11195" actId="1076"/>
          <ac:picMkLst>
            <pc:docMk/>
            <pc:sldMk cId="2955133890" sldId="2147476301"/>
            <ac:picMk id="2" creationId="{ABD7E9A7-7F72-41A2-CF35-445EF875FF5B}"/>
          </ac:picMkLst>
        </pc:picChg>
      </pc:sldChg>
      <pc:sldChg chg="addSp modSp add mod">
        <pc:chgData name="Iimura, Jinichi" userId="9e18df6b-b397-4f9f-a1c6-0abee7ae91a5" providerId="ADAL" clId="{8659CC36-693C-479B-B738-87E8E3013C2B}" dt="2025-07-02T12:30:37.910" v="12798" actId="20577"/>
        <pc:sldMkLst>
          <pc:docMk/>
          <pc:sldMk cId="876069289" sldId="2147476302"/>
        </pc:sldMkLst>
        <pc:spChg chg="mod">
          <ac:chgData name="Iimura, Jinichi" userId="9e18df6b-b397-4f9f-a1c6-0abee7ae91a5" providerId="ADAL" clId="{8659CC36-693C-479B-B738-87E8E3013C2B}" dt="2025-07-02T12:30:37.910" v="12798" actId="20577"/>
          <ac:spMkLst>
            <pc:docMk/>
            <pc:sldMk cId="876069289" sldId="2147476302"/>
            <ac:spMk id="30" creationId="{3448C59E-558C-342D-EA1A-7AE67789B08F}"/>
          </ac:spMkLst>
        </pc:spChg>
        <pc:spChg chg="mod">
          <ac:chgData name="Iimura, Jinichi" userId="9e18df6b-b397-4f9f-a1c6-0abee7ae91a5" providerId="ADAL" clId="{8659CC36-693C-479B-B738-87E8E3013C2B}" dt="2025-07-01T14:13:48.261" v="11064" actId="20577"/>
          <ac:spMkLst>
            <pc:docMk/>
            <pc:sldMk cId="876069289" sldId="2147476302"/>
            <ac:spMk id="91" creationId="{6CE6E245-6D90-A273-F2A0-D60BE5CDAECB}"/>
          </ac:spMkLst>
        </pc:spChg>
        <pc:picChg chg="add mod">
          <ac:chgData name="Iimura, Jinichi" userId="9e18df6b-b397-4f9f-a1c6-0abee7ae91a5" providerId="ADAL" clId="{8659CC36-693C-479B-B738-87E8E3013C2B}" dt="2025-07-01T23:23:42.841" v="11206" actId="1076"/>
          <ac:picMkLst>
            <pc:docMk/>
            <pc:sldMk cId="876069289" sldId="2147476302"/>
            <ac:picMk id="2" creationId="{C6B5E095-42C8-655E-6F1B-C0C4524FC5FA}"/>
          </ac:picMkLst>
        </pc:picChg>
      </pc:sldChg>
      <pc:sldChg chg="addSp modSp add mod">
        <pc:chgData name="Iimura, Jinichi" userId="9e18df6b-b397-4f9f-a1c6-0abee7ae91a5" providerId="ADAL" clId="{8659CC36-693C-479B-B738-87E8E3013C2B}" dt="2025-07-02T12:33:37.362" v="12916" actId="20577"/>
        <pc:sldMkLst>
          <pc:docMk/>
          <pc:sldMk cId="2039468415" sldId="2147476303"/>
        </pc:sldMkLst>
        <pc:spChg chg="mod">
          <ac:chgData name="Iimura, Jinichi" userId="9e18df6b-b397-4f9f-a1c6-0abee7ae91a5" providerId="ADAL" clId="{8659CC36-693C-479B-B738-87E8E3013C2B}" dt="2025-07-02T12:33:37.362" v="12916" actId="20577"/>
          <ac:spMkLst>
            <pc:docMk/>
            <pc:sldMk cId="2039468415" sldId="2147476303"/>
            <ac:spMk id="30" creationId="{3448C59E-558C-342D-EA1A-7AE67789B08F}"/>
          </ac:spMkLst>
        </pc:spChg>
        <pc:spChg chg="mod">
          <ac:chgData name="Iimura, Jinichi" userId="9e18df6b-b397-4f9f-a1c6-0abee7ae91a5" providerId="ADAL" clId="{8659CC36-693C-479B-B738-87E8E3013C2B}" dt="2025-07-01T14:13:55.369" v="11083" actId="20577"/>
          <ac:spMkLst>
            <pc:docMk/>
            <pc:sldMk cId="2039468415" sldId="2147476303"/>
            <ac:spMk id="91" creationId="{6CE6E245-6D90-A273-F2A0-D60BE5CDAECB}"/>
          </ac:spMkLst>
        </pc:spChg>
        <pc:picChg chg="add mod">
          <ac:chgData name="Iimura, Jinichi" userId="9e18df6b-b397-4f9f-a1c6-0abee7ae91a5" providerId="ADAL" clId="{8659CC36-693C-479B-B738-87E8E3013C2B}" dt="2025-07-01T23:23:52.329" v="11208" actId="1076"/>
          <ac:picMkLst>
            <pc:docMk/>
            <pc:sldMk cId="2039468415" sldId="2147476303"/>
            <ac:picMk id="2" creationId="{0F13CD61-51E6-E62F-F31A-18A4159B3751}"/>
          </ac:picMkLst>
        </pc:picChg>
      </pc:sldChg>
      <pc:sldChg chg="addSp modSp add mod">
        <pc:chgData name="Iimura, Jinichi" userId="9e18df6b-b397-4f9f-a1c6-0abee7ae91a5" providerId="ADAL" clId="{8659CC36-693C-479B-B738-87E8E3013C2B}" dt="2025-07-02T12:33:51.182" v="12935" actId="20577"/>
        <pc:sldMkLst>
          <pc:docMk/>
          <pc:sldMk cId="2055203696" sldId="2147476304"/>
        </pc:sldMkLst>
        <pc:spChg chg="mod">
          <ac:chgData name="Iimura, Jinichi" userId="9e18df6b-b397-4f9f-a1c6-0abee7ae91a5" providerId="ADAL" clId="{8659CC36-693C-479B-B738-87E8E3013C2B}" dt="2025-07-02T12:33:51.182" v="12935" actId="20577"/>
          <ac:spMkLst>
            <pc:docMk/>
            <pc:sldMk cId="2055203696" sldId="2147476304"/>
            <ac:spMk id="30" creationId="{3448C59E-558C-342D-EA1A-7AE67789B08F}"/>
          </ac:spMkLst>
        </pc:spChg>
        <pc:spChg chg="mod">
          <ac:chgData name="Iimura, Jinichi" userId="9e18df6b-b397-4f9f-a1c6-0abee7ae91a5" providerId="ADAL" clId="{8659CC36-693C-479B-B738-87E8E3013C2B}" dt="2025-07-01T14:14:14.428" v="11131" actId="20577"/>
          <ac:spMkLst>
            <pc:docMk/>
            <pc:sldMk cId="2055203696" sldId="2147476304"/>
            <ac:spMk id="91" creationId="{6CE6E245-6D90-A273-F2A0-D60BE5CDAECB}"/>
          </ac:spMkLst>
        </pc:spChg>
        <pc:picChg chg="add mod">
          <ac:chgData name="Iimura, Jinichi" userId="9e18df6b-b397-4f9f-a1c6-0abee7ae91a5" providerId="ADAL" clId="{8659CC36-693C-479B-B738-87E8E3013C2B}" dt="2025-07-01T23:24:16.328" v="11210" actId="1076"/>
          <ac:picMkLst>
            <pc:docMk/>
            <pc:sldMk cId="2055203696" sldId="2147476304"/>
            <ac:picMk id="2" creationId="{E7E2D8D6-2F16-8295-7AB9-EFA366863FA7}"/>
          </ac:picMkLst>
        </pc:picChg>
      </pc:sldChg>
      <pc:sldChg chg="modSp add del mod">
        <pc:chgData name="Iimura, Jinichi" userId="9e18df6b-b397-4f9f-a1c6-0abee7ae91a5" providerId="ADAL" clId="{8659CC36-693C-479B-B738-87E8E3013C2B}" dt="2025-07-01T14:14:29.084" v="11147" actId="47"/>
        <pc:sldMkLst>
          <pc:docMk/>
          <pc:sldMk cId="1425559955" sldId="2147476305"/>
        </pc:sldMkLst>
        <pc:spChg chg="mod">
          <ac:chgData name="Iimura, Jinichi" userId="9e18df6b-b397-4f9f-a1c6-0abee7ae91a5" providerId="ADAL" clId="{8659CC36-693C-479B-B738-87E8E3013C2B}" dt="2025-07-01T14:14:25.632" v="11146" actId="20577"/>
          <ac:spMkLst>
            <pc:docMk/>
            <pc:sldMk cId="1425559955" sldId="2147476305"/>
            <ac:spMk id="91" creationId="{6CE6E245-6D90-A273-F2A0-D60BE5CDAECB}"/>
          </ac:spMkLst>
        </pc:spChg>
      </pc:sldChg>
      <pc:sldChg chg="addSp delSp modSp add del mod ord">
        <pc:chgData name="Iimura, Jinichi" userId="9e18df6b-b397-4f9f-a1c6-0abee7ae91a5" providerId="ADAL" clId="{8659CC36-693C-479B-B738-87E8E3013C2B}" dt="2025-07-02T12:54:26.551" v="13521" actId="47"/>
        <pc:sldMkLst>
          <pc:docMk/>
          <pc:sldMk cId="3771668868" sldId="2147476305"/>
        </pc:sldMkLst>
        <pc:spChg chg="add mod">
          <ac:chgData name="Iimura, Jinichi" userId="9e18df6b-b397-4f9f-a1c6-0abee7ae91a5" providerId="ADAL" clId="{8659CC36-693C-479B-B738-87E8E3013C2B}" dt="2025-07-02T12:53:59.638" v="13519" actId="14100"/>
          <ac:spMkLst>
            <pc:docMk/>
            <pc:sldMk cId="3771668868" sldId="2147476305"/>
            <ac:spMk id="5" creationId="{656B782B-1A02-032E-CF4F-55C850931E7A}"/>
          </ac:spMkLst>
        </pc:spChg>
        <pc:spChg chg="add mod">
          <ac:chgData name="Iimura, Jinichi" userId="9e18df6b-b397-4f9f-a1c6-0abee7ae91a5" providerId="ADAL" clId="{8659CC36-693C-479B-B738-87E8E3013C2B}" dt="2025-07-02T12:54:03.217" v="13520" actId="14100"/>
          <ac:spMkLst>
            <pc:docMk/>
            <pc:sldMk cId="3771668868" sldId="2147476305"/>
            <ac:spMk id="6" creationId="{E6C16C50-EC9B-89D0-F21F-BE509ACA0C7B}"/>
          </ac:spMkLst>
        </pc:spChg>
        <pc:spChg chg="del">
          <ac:chgData name="Iimura, Jinichi" userId="9e18df6b-b397-4f9f-a1c6-0abee7ae91a5" providerId="ADAL" clId="{8659CC36-693C-479B-B738-87E8E3013C2B}" dt="2025-07-01T23:25:09.494" v="11228" actId="478"/>
          <ac:spMkLst>
            <pc:docMk/>
            <pc:sldMk cId="3771668868" sldId="2147476305"/>
            <ac:spMk id="28" creationId="{B45C7C43-84BC-EB68-B34A-AAE39F6D8E9C}"/>
          </ac:spMkLst>
        </pc:spChg>
        <pc:spChg chg="del mod topLvl">
          <ac:chgData name="Iimura, Jinichi" userId="9e18df6b-b397-4f9f-a1c6-0abee7ae91a5" providerId="ADAL" clId="{8659CC36-693C-479B-B738-87E8E3013C2B}" dt="2025-07-01T23:25:09.494" v="11228" actId="478"/>
          <ac:spMkLst>
            <pc:docMk/>
            <pc:sldMk cId="3771668868" sldId="2147476305"/>
            <ac:spMk id="83" creationId="{75A62634-CEF8-8768-F6D3-E5751EF29FC1}"/>
          </ac:spMkLst>
        </pc:spChg>
        <pc:spChg chg="del mod topLvl">
          <ac:chgData name="Iimura, Jinichi" userId="9e18df6b-b397-4f9f-a1c6-0abee7ae91a5" providerId="ADAL" clId="{8659CC36-693C-479B-B738-87E8E3013C2B}" dt="2025-07-01T23:25:09.494" v="11228" actId="478"/>
          <ac:spMkLst>
            <pc:docMk/>
            <pc:sldMk cId="3771668868" sldId="2147476305"/>
            <ac:spMk id="84" creationId="{881F402C-1876-F446-7685-26DD30711013}"/>
          </ac:spMkLst>
        </pc:spChg>
        <pc:spChg chg="del mod topLvl">
          <ac:chgData name="Iimura, Jinichi" userId="9e18df6b-b397-4f9f-a1c6-0abee7ae91a5" providerId="ADAL" clId="{8659CC36-693C-479B-B738-87E8E3013C2B}" dt="2025-07-01T23:25:09.494" v="11228" actId="478"/>
          <ac:spMkLst>
            <pc:docMk/>
            <pc:sldMk cId="3771668868" sldId="2147476305"/>
            <ac:spMk id="85" creationId="{1919DEAA-049E-D375-9F18-87C299672303}"/>
          </ac:spMkLst>
        </pc:spChg>
        <pc:spChg chg="del mod topLvl">
          <ac:chgData name="Iimura, Jinichi" userId="9e18df6b-b397-4f9f-a1c6-0abee7ae91a5" providerId="ADAL" clId="{8659CC36-693C-479B-B738-87E8E3013C2B}" dt="2025-07-01T23:25:09.494" v="11228" actId="478"/>
          <ac:spMkLst>
            <pc:docMk/>
            <pc:sldMk cId="3771668868" sldId="2147476305"/>
            <ac:spMk id="86" creationId="{A734A665-A87D-F11B-F2AE-D85B2477CFA5}"/>
          </ac:spMkLst>
        </pc:spChg>
        <pc:spChg chg="del mod topLvl">
          <ac:chgData name="Iimura, Jinichi" userId="9e18df6b-b397-4f9f-a1c6-0abee7ae91a5" providerId="ADAL" clId="{8659CC36-693C-479B-B738-87E8E3013C2B}" dt="2025-07-01T23:25:09.494" v="11228" actId="478"/>
          <ac:spMkLst>
            <pc:docMk/>
            <pc:sldMk cId="3771668868" sldId="2147476305"/>
            <ac:spMk id="87" creationId="{4A02E4AC-8958-FCC4-F0B2-3893ACA676B8}"/>
          </ac:spMkLst>
        </pc:spChg>
        <pc:spChg chg="del mod topLvl">
          <ac:chgData name="Iimura, Jinichi" userId="9e18df6b-b397-4f9f-a1c6-0abee7ae91a5" providerId="ADAL" clId="{8659CC36-693C-479B-B738-87E8E3013C2B}" dt="2025-07-01T23:25:09.494" v="11228" actId="478"/>
          <ac:spMkLst>
            <pc:docMk/>
            <pc:sldMk cId="3771668868" sldId="2147476305"/>
            <ac:spMk id="88" creationId="{75EC14CE-9952-A8DE-0D58-569B0AC2B836}"/>
          </ac:spMkLst>
        </pc:spChg>
        <pc:spChg chg="del mod topLvl">
          <ac:chgData name="Iimura, Jinichi" userId="9e18df6b-b397-4f9f-a1c6-0abee7ae91a5" providerId="ADAL" clId="{8659CC36-693C-479B-B738-87E8E3013C2B}" dt="2025-07-01T23:25:09.494" v="11228" actId="478"/>
          <ac:spMkLst>
            <pc:docMk/>
            <pc:sldMk cId="3771668868" sldId="2147476305"/>
            <ac:spMk id="89" creationId="{56473014-D166-E9CA-FC1F-46A765F381A0}"/>
          </ac:spMkLst>
        </pc:spChg>
        <pc:spChg chg="del mod topLvl">
          <ac:chgData name="Iimura, Jinichi" userId="9e18df6b-b397-4f9f-a1c6-0abee7ae91a5" providerId="ADAL" clId="{8659CC36-693C-479B-B738-87E8E3013C2B}" dt="2025-07-01T23:25:09.494" v="11228" actId="478"/>
          <ac:spMkLst>
            <pc:docMk/>
            <pc:sldMk cId="3771668868" sldId="2147476305"/>
            <ac:spMk id="90" creationId="{9F0CADBE-6645-4BA8-A73A-5B462BF8A346}"/>
          </ac:spMkLst>
        </pc:spChg>
        <pc:spChg chg="mod topLvl">
          <ac:chgData name="Iimura, Jinichi" userId="9e18df6b-b397-4f9f-a1c6-0abee7ae91a5" providerId="ADAL" clId="{8659CC36-693C-479B-B738-87E8E3013C2B}" dt="2025-07-01T23:25:05.247" v="11227" actId="165"/>
          <ac:spMkLst>
            <pc:docMk/>
            <pc:sldMk cId="3771668868" sldId="2147476305"/>
            <ac:spMk id="91" creationId="{6CE6E245-6D90-A273-F2A0-D60BE5CDAECB}"/>
          </ac:spMkLst>
        </pc:spChg>
        <pc:grpChg chg="del mod topLvl">
          <ac:chgData name="Iimura, Jinichi" userId="9e18df6b-b397-4f9f-a1c6-0abee7ae91a5" providerId="ADAL" clId="{8659CC36-693C-479B-B738-87E8E3013C2B}" dt="2025-07-01T23:25:09.494" v="11228" actId="478"/>
          <ac:grpSpMkLst>
            <pc:docMk/>
            <pc:sldMk cId="3771668868" sldId="2147476305"/>
            <ac:grpSpMk id="77" creationId="{429718CD-5108-48A1-8C03-979363C1BC36}"/>
          </ac:grpSpMkLst>
        </pc:grpChg>
        <pc:grpChg chg="del mod topLvl">
          <ac:chgData name="Iimura, Jinichi" userId="9e18df6b-b397-4f9f-a1c6-0abee7ae91a5" providerId="ADAL" clId="{8659CC36-693C-479B-B738-87E8E3013C2B}" dt="2025-07-01T23:25:09.494" v="11228" actId="478"/>
          <ac:grpSpMkLst>
            <pc:docMk/>
            <pc:sldMk cId="3771668868" sldId="2147476305"/>
            <ac:grpSpMk id="80" creationId="{0C6A1D51-C7BA-CFF2-A7C9-323DE9E85695}"/>
          </ac:grpSpMkLst>
        </pc:grpChg>
        <pc:grpChg chg="del">
          <ac:chgData name="Iimura, Jinichi" userId="9e18df6b-b397-4f9f-a1c6-0abee7ae91a5" providerId="ADAL" clId="{8659CC36-693C-479B-B738-87E8E3013C2B}" dt="2025-07-01T23:25:05.247" v="11227" actId="165"/>
          <ac:grpSpMkLst>
            <pc:docMk/>
            <pc:sldMk cId="3771668868" sldId="2147476305"/>
            <ac:grpSpMk id="93" creationId="{7D71067C-E97E-4CCA-F883-1E0105700641}"/>
          </ac:grpSpMkLst>
        </pc:grpChg>
        <pc:picChg chg="add mod">
          <ac:chgData name="Iimura, Jinichi" userId="9e18df6b-b397-4f9f-a1c6-0abee7ae91a5" providerId="ADAL" clId="{8659CC36-693C-479B-B738-87E8E3013C2B}" dt="2025-07-02T12:53:53.916" v="13518" actId="14100"/>
          <ac:picMkLst>
            <pc:docMk/>
            <pc:sldMk cId="3771668868" sldId="2147476305"/>
            <ac:picMk id="2" creationId="{4F01EF31-5F13-6FCF-5A81-E06109095853}"/>
          </ac:picMkLst>
        </pc:picChg>
        <pc:picChg chg="mod">
          <ac:chgData name="Iimura, Jinichi" userId="9e18df6b-b397-4f9f-a1c6-0abee7ae91a5" providerId="ADAL" clId="{8659CC36-693C-479B-B738-87E8E3013C2B}" dt="2025-07-01T23:25:05.247" v="11227" actId="165"/>
          <ac:picMkLst>
            <pc:docMk/>
            <pc:sldMk cId="3771668868" sldId="2147476305"/>
            <ac:picMk id="78" creationId="{C2FA359B-A634-83C5-DF28-6A50F9A34078}"/>
          </ac:picMkLst>
        </pc:picChg>
        <pc:picChg chg="mod">
          <ac:chgData name="Iimura, Jinichi" userId="9e18df6b-b397-4f9f-a1c6-0abee7ae91a5" providerId="ADAL" clId="{8659CC36-693C-479B-B738-87E8E3013C2B}" dt="2025-07-01T23:25:05.247" v="11227" actId="165"/>
          <ac:picMkLst>
            <pc:docMk/>
            <pc:sldMk cId="3771668868" sldId="2147476305"/>
            <ac:picMk id="79" creationId="{AD143393-A810-C124-3C73-A4C79190493B}"/>
          </ac:picMkLst>
        </pc:picChg>
        <pc:picChg chg="mod">
          <ac:chgData name="Iimura, Jinichi" userId="9e18df6b-b397-4f9f-a1c6-0abee7ae91a5" providerId="ADAL" clId="{8659CC36-693C-479B-B738-87E8E3013C2B}" dt="2025-07-01T23:25:05.247" v="11227" actId="165"/>
          <ac:picMkLst>
            <pc:docMk/>
            <pc:sldMk cId="3771668868" sldId="2147476305"/>
            <ac:picMk id="81" creationId="{945BC11A-EA86-7D08-0448-DE513290B024}"/>
          </ac:picMkLst>
        </pc:picChg>
        <pc:picChg chg="mod">
          <ac:chgData name="Iimura, Jinichi" userId="9e18df6b-b397-4f9f-a1c6-0abee7ae91a5" providerId="ADAL" clId="{8659CC36-693C-479B-B738-87E8E3013C2B}" dt="2025-07-01T23:25:05.247" v="11227" actId="165"/>
          <ac:picMkLst>
            <pc:docMk/>
            <pc:sldMk cId="3771668868" sldId="2147476305"/>
            <ac:picMk id="82" creationId="{1295256A-7454-BCA8-6479-8ADD4BF6E944}"/>
          </ac:picMkLst>
        </pc:picChg>
      </pc:sldChg>
      <pc:sldChg chg="add del">
        <pc:chgData name="Iimura, Jinichi" userId="9e18df6b-b397-4f9f-a1c6-0abee7ae91a5" providerId="ADAL" clId="{8659CC36-693C-479B-B738-87E8E3013C2B}" dt="2025-07-01T23:26:06.632" v="11230"/>
        <pc:sldMkLst>
          <pc:docMk/>
          <pc:sldMk cId="3348801869" sldId="2147476306"/>
        </pc:sldMkLst>
      </pc:sldChg>
      <pc:sldChg chg="addSp modSp add mod ord">
        <pc:chgData name="Iimura, Jinichi" userId="9e18df6b-b397-4f9f-a1c6-0abee7ae91a5" providerId="ADAL" clId="{8659CC36-693C-479B-B738-87E8E3013C2B}" dt="2025-07-03T02:35:02.367" v="14217"/>
        <pc:sldMkLst>
          <pc:docMk/>
          <pc:sldMk cId="3798191958" sldId="2147476306"/>
        </pc:sldMkLst>
        <pc:spChg chg="mod">
          <ac:chgData name="Iimura, Jinichi" userId="9e18df6b-b397-4f9f-a1c6-0abee7ae91a5" providerId="ADAL" clId="{8659CC36-693C-479B-B738-87E8E3013C2B}" dt="2025-07-03T02:34:38.362" v="14210" actId="20577"/>
          <ac:spMkLst>
            <pc:docMk/>
            <pc:sldMk cId="3798191958" sldId="2147476306"/>
            <ac:spMk id="30" creationId="{3448C59E-558C-342D-EA1A-7AE67789B08F}"/>
          </ac:spMkLst>
        </pc:spChg>
        <pc:spChg chg="mod">
          <ac:chgData name="Iimura, Jinichi" userId="9e18df6b-b397-4f9f-a1c6-0abee7ae91a5" providerId="ADAL" clId="{8659CC36-693C-479B-B738-87E8E3013C2B}" dt="2025-07-01T23:27:17.593" v="11265" actId="20577"/>
          <ac:spMkLst>
            <pc:docMk/>
            <pc:sldMk cId="3798191958" sldId="2147476306"/>
            <ac:spMk id="91" creationId="{6CE6E245-6D90-A273-F2A0-D60BE5CDAECB}"/>
          </ac:spMkLst>
        </pc:spChg>
        <pc:picChg chg="add mod">
          <ac:chgData name="Iimura, Jinichi" userId="9e18df6b-b397-4f9f-a1c6-0abee7ae91a5" providerId="ADAL" clId="{8659CC36-693C-479B-B738-87E8E3013C2B}" dt="2025-07-02T01:12:06.411" v="11273" actId="1076"/>
          <ac:picMkLst>
            <pc:docMk/>
            <pc:sldMk cId="3798191958" sldId="2147476306"/>
            <ac:picMk id="2" creationId="{2D15A602-C390-7D1A-6ED4-27EEDE30C117}"/>
          </ac:picMkLst>
        </pc:picChg>
      </pc:sldChg>
      <pc:sldChg chg="addSp delSp modSp add mod">
        <pc:chgData name="Iimura, Jinichi" userId="9e18df6b-b397-4f9f-a1c6-0abee7ae91a5" providerId="ADAL" clId="{8659CC36-693C-479B-B738-87E8E3013C2B}" dt="2025-07-02T23:50:19.567" v="14137" actId="14100"/>
        <pc:sldMkLst>
          <pc:docMk/>
          <pc:sldMk cId="23235616" sldId="2147476307"/>
        </pc:sldMkLst>
        <pc:spChg chg="add mod">
          <ac:chgData name="Iimura, Jinichi" userId="9e18df6b-b397-4f9f-a1c6-0abee7ae91a5" providerId="ADAL" clId="{8659CC36-693C-479B-B738-87E8E3013C2B}" dt="2025-07-02T08:18:26.608" v="12167"/>
          <ac:spMkLst>
            <pc:docMk/>
            <pc:sldMk cId="23235616" sldId="2147476307"/>
            <ac:spMk id="11" creationId="{5CD96825-A697-2A62-75BB-FFFAE714D461}"/>
          </ac:spMkLst>
        </pc:spChg>
        <pc:spChg chg="add mod">
          <ac:chgData name="Iimura, Jinichi" userId="9e18df6b-b397-4f9f-a1c6-0abee7ae91a5" providerId="ADAL" clId="{8659CC36-693C-479B-B738-87E8E3013C2B}" dt="2025-07-02T08:18:26.608" v="12167"/>
          <ac:spMkLst>
            <pc:docMk/>
            <pc:sldMk cId="23235616" sldId="2147476307"/>
            <ac:spMk id="12" creationId="{BF063A1C-737A-550A-4389-E166F207DC0F}"/>
          </ac:spMkLst>
        </pc:spChg>
        <pc:spChg chg="add mod">
          <ac:chgData name="Iimura, Jinichi" userId="9e18df6b-b397-4f9f-a1c6-0abee7ae91a5" providerId="ADAL" clId="{8659CC36-693C-479B-B738-87E8E3013C2B}" dt="2025-07-02T12:09:02.876" v="12583" actId="20577"/>
          <ac:spMkLst>
            <pc:docMk/>
            <pc:sldMk cId="23235616" sldId="2147476307"/>
            <ac:spMk id="15" creationId="{6CE761F2-6FD4-5292-3385-FD59CC7BABC4}"/>
          </ac:spMkLst>
        </pc:spChg>
        <pc:spChg chg="add mod">
          <ac:chgData name="Iimura, Jinichi" userId="9e18df6b-b397-4f9f-a1c6-0abee7ae91a5" providerId="ADAL" clId="{8659CC36-693C-479B-B738-87E8E3013C2B}" dt="2025-07-02T12:09:08.783" v="12584"/>
          <ac:spMkLst>
            <pc:docMk/>
            <pc:sldMk cId="23235616" sldId="2147476307"/>
            <ac:spMk id="16" creationId="{87E780FC-0ECE-7FBA-2CF6-49868CFBF8CE}"/>
          </ac:spMkLst>
        </pc:spChg>
        <pc:spChg chg="add mod">
          <ac:chgData name="Iimura, Jinichi" userId="9e18df6b-b397-4f9f-a1c6-0abee7ae91a5" providerId="ADAL" clId="{8659CC36-693C-479B-B738-87E8E3013C2B}" dt="2025-07-02T08:19:03.965" v="12172" actId="14100"/>
          <ac:spMkLst>
            <pc:docMk/>
            <pc:sldMk cId="23235616" sldId="2147476307"/>
            <ac:spMk id="17" creationId="{8C609A70-D615-0BE6-EF8D-3297FBC1926F}"/>
          </ac:spMkLst>
        </pc:spChg>
        <pc:spChg chg="add mod">
          <ac:chgData name="Iimura, Jinichi" userId="9e18df6b-b397-4f9f-a1c6-0abee7ae91a5" providerId="ADAL" clId="{8659CC36-693C-479B-B738-87E8E3013C2B}" dt="2025-07-02T23:50:19.567" v="14137" actId="14100"/>
          <ac:spMkLst>
            <pc:docMk/>
            <pc:sldMk cId="23235616" sldId="2147476307"/>
            <ac:spMk id="18" creationId="{E81D0158-D8BB-FAF3-69CE-3D82EF77C569}"/>
          </ac:spMkLst>
        </pc:spChg>
        <pc:spChg chg="del">
          <ac:chgData name="Iimura, Jinichi" userId="9e18df6b-b397-4f9f-a1c6-0abee7ae91a5" providerId="ADAL" clId="{8659CC36-693C-479B-B738-87E8E3013C2B}" dt="2025-07-02T08:18:14.918" v="12166" actId="478"/>
          <ac:spMkLst>
            <pc:docMk/>
            <pc:sldMk cId="23235616" sldId="2147476307"/>
            <ac:spMk id="25" creationId="{0CD750F5-E3CB-4EA2-5BB2-32AFA06CD271}"/>
          </ac:spMkLst>
        </pc:spChg>
        <pc:spChg chg="del mod">
          <ac:chgData name="Iimura, Jinichi" userId="9e18df6b-b397-4f9f-a1c6-0abee7ae91a5" providerId="ADAL" clId="{8659CC36-693C-479B-B738-87E8E3013C2B}" dt="2025-07-02T08:21:41.897" v="12209" actId="478"/>
          <ac:spMkLst>
            <pc:docMk/>
            <pc:sldMk cId="23235616" sldId="2147476307"/>
            <ac:spMk id="30" creationId="{3448C59E-558C-342D-EA1A-7AE67789B08F}"/>
          </ac:spMkLst>
        </pc:spChg>
        <pc:grpChg chg="del">
          <ac:chgData name="Iimura, Jinichi" userId="9e18df6b-b397-4f9f-a1c6-0abee7ae91a5" providerId="ADAL" clId="{8659CC36-693C-479B-B738-87E8E3013C2B}" dt="2025-07-02T08:16:37.448" v="12155" actId="478"/>
          <ac:grpSpMkLst>
            <pc:docMk/>
            <pc:sldMk cId="23235616" sldId="2147476307"/>
            <ac:grpSpMk id="5" creationId="{151AF72A-6D3C-D9EC-32B0-B430C73D68DC}"/>
          </ac:grpSpMkLst>
        </pc:grpChg>
        <pc:picChg chg="add mod modCrop">
          <ac:chgData name="Iimura, Jinichi" userId="9e18df6b-b397-4f9f-a1c6-0abee7ae91a5" providerId="ADAL" clId="{8659CC36-693C-479B-B738-87E8E3013C2B}" dt="2025-07-02T08:20:00.004" v="12181" actId="1076"/>
          <ac:picMkLst>
            <pc:docMk/>
            <pc:sldMk cId="23235616" sldId="2147476307"/>
            <ac:picMk id="6" creationId="{5DC51C58-A379-5905-22B8-10273B7047CB}"/>
          </ac:picMkLst>
        </pc:picChg>
        <pc:picChg chg="add mod">
          <ac:chgData name="Iimura, Jinichi" userId="9e18df6b-b397-4f9f-a1c6-0abee7ae91a5" providerId="ADAL" clId="{8659CC36-693C-479B-B738-87E8E3013C2B}" dt="2025-07-02T08:18:26.608" v="12167"/>
          <ac:picMkLst>
            <pc:docMk/>
            <pc:sldMk cId="23235616" sldId="2147476307"/>
            <ac:picMk id="9" creationId="{590DE809-78B4-A24B-013C-0F3F8827B77B}"/>
          </ac:picMkLst>
        </pc:picChg>
        <pc:picChg chg="add mod">
          <ac:chgData name="Iimura, Jinichi" userId="9e18df6b-b397-4f9f-a1c6-0abee7ae91a5" providerId="ADAL" clId="{8659CC36-693C-479B-B738-87E8E3013C2B}" dt="2025-07-02T08:18:26.608" v="12167"/>
          <ac:picMkLst>
            <pc:docMk/>
            <pc:sldMk cId="23235616" sldId="2147476307"/>
            <ac:picMk id="10" creationId="{DB07636A-CE51-B34B-607A-9B9344D21984}"/>
          </ac:picMkLst>
        </pc:picChg>
        <pc:picChg chg="add del mod">
          <ac:chgData name="Iimura, Jinichi" userId="9e18df6b-b397-4f9f-a1c6-0abee7ae91a5" providerId="ADAL" clId="{8659CC36-693C-479B-B738-87E8E3013C2B}" dt="2025-07-02T08:18:34.493" v="12169" actId="478"/>
          <ac:picMkLst>
            <pc:docMk/>
            <pc:sldMk cId="23235616" sldId="2147476307"/>
            <ac:picMk id="13" creationId="{77A2947B-C3A4-D354-BF50-31E849F153B5}"/>
          </ac:picMkLst>
        </pc:picChg>
        <pc:picChg chg="add del mod">
          <ac:chgData name="Iimura, Jinichi" userId="9e18df6b-b397-4f9f-a1c6-0abee7ae91a5" providerId="ADAL" clId="{8659CC36-693C-479B-B738-87E8E3013C2B}" dt="2025-07-02T08:18:34.493" v="12169" actId="478"/>
          <ac:picMkLst>
            <pc:docMk/>
            <pc:sldMk cId="23235616" sldId="2147476307"/>
            <ac:picMk id="14" creationId="{9646E35D-B5CA-C6FB-A668-BF4D3BEDDA1D}"/>
          </ac:picMkLst>
        </pc:picChg>
        <pc:picChg chg="add mod modCrop">
          <ac:chgData name="Iimura, Jinichi" userId="9e18df6b-b397-4f9f-a1c6-0abee7ae91a5" providerId="ADAL" clId="{8659CC36-693C-479B-B738-87E8E3013C2B}" dt="2025-07-02T08:21:23.616" v="12206" actId="1076"/>
          <ac:picMkLst>
            <pc:docMk/>
            <pc:sldMk cId="23235616" sldId="2147476307"/>
            <ac:picMk id="19" creationId="{9D224387-4217-8F55-82FF-8570D2FC9F73}"/>
          </ac:picMkLst>
        </pc:picChg>
        <pc:picChg chg="add mod modCrop">
          <ac:chgData name="Iimura, Jinichi" userId="9e18df6b-b397-4f9f-a1c6-0abee7ae91a5" providerId="ADAL" clId="{8659CC36-693C-479B-B738-87E8E3013C2B}" dt="2025-07-02T23:50:12.179" v="14136" actId="14100"/>
          <ac:picMkLst>
            <pc:docMk/>
            <pc:sldMk cId="23235616" sldId="2147476307"/>
            <ac:picMk id="20" creationId="{B84965FB-A7C6-0D54-5A65-25899438EC14}"/>
          </ac:picMkLst>
        </pc:picChg>
      </pc:sldChg>
      <pc:sldChg chg="add del">
        <pc:chgData name="Iimura, Jinichi" userId="9e18df6b-b397-4f9f-a1c6-0abee7ae91a5" providerId="ADAL" clId="{8659CC36-693C-479B-B738-87E8E3013C2B}" dt="2025-07-02T07:25:39.452" v="11994" actId="47"/>
        <pc:sldMkLst>
          <pc:docMk/>
          <pc:sldMk cId="2370921313" sldId="2147476307"/>
        </pc:sldMkLst>
      </pc:sldChg>
      <pc:sldChg chg="delSp modSp add mod">
        <pc:chgData name="Iimura, Jinichi" userId="9e18df6b-b397-4f9f-a1c6-0abee7ae91a5" providerId="ADAL" clId="{8659CC36-693C-479B-B738-87E8E3013C2B}" dt="2025-07-02T23:42:45.589" v="14124" actId="1076"/>
        <pc:sldMkLst>
          <pc:docMk/>
          <pc:sldMk cId="1109742819" sldId="2147476308"/>
        </pc:sldMkLst>
        <pc:spChg chg="mod">
          <ac:chgData name="Iimura, Jinichi" userId="9e18df6b-b397-4f9f-a1c6-0abee7ae91a5" providerId="ADAL" clId="{8659CC36-693C-479B-B738-87E8E3013C2B}" dt="2025-07-02T23:42:41.749" v="14123" actId="6549"/>
          <ac:spMkLst>
            <pc:docMk/>
            <pc:sldMk cId="1109742819" sldId="2147476308"/>
            <ac:spMk id="5" creationId="{CA9AD951-AB0A-F544-7224-4DC94CDD3179}"/>
          </ac:spMkLst>
        </pc:spChg>
        <pc:spChg chg="del">
          <ac:chgData name="Iimura, Jinichi" userId="9e18df6b-b397-4f9f-a1c6-0abee7ae91a5" providerId="ADAL" clId="{8659CC36-693C-479B-B738-87E8E3013C2B}" dt="2025-07-02T23:42:38.127" v="14122" actId="478"/>
          <ac:spMkLst>
            <pc:docMk/>
            <pc:sldMk cId="1109742819" sldId="2147476308"/>
            <ac:spMk id="12" creationId="{D887B3BB-0516-21F0-A43B-E49958BA6439}"/>
          </ac:spMkLst>
        </pc:spChg>
        <pc:spChg chg="del">
          <ac:chgData name="Iimura, Jinichi" userId="9e18df6b-b397-4f9f-a1c6-0abee7ae91a5" providerId="ADAL" clId="{8659CC36-693C-479B-B738-87E8E3013C2B}" dt="2025-07-02T23:42:38.127" v="14122" actId="478"/>
          <ac:spMkLst>
            <pc:docMk/>
            <pc:sldMk cId="1109742819" sldId="2147476308"/>
            <ac:spMk id="13" creationId="{98411CF8-7957-1DA7-507D-8963724BFDFC}"/>
          </ac:spMkLst>
        </pc:spChg>
        <pc:spChg chg="del">
          <ac:chgData name="Iimura, Jinichi" userId="9e18df6b-b397-4f9f-a1c6-0abee7ae91a5" providerId="ADAL" clId="{8659CC36-693C-479B-B738-87E8E3013C2B}" dt="2025-07-02T23:42:38.127" v="14122" actId="478"/>
          <ac:spMkLst>
            <pc:docMk/>
            <pc:sldMk cId="1109742819" sldId="2147476308"/>
            <ac:spMk id="14" creationId="{97031C94-F35D-9884-1E15-65AB6E2D96E2}"/>
          </ac:spMkLst>
        </pc:spChg>
        <pc:spChg chg="del">
          <ac:chgData name="Iimura, Jinichi" userId="9e18df6b-b397-4f9f-a1c6-0abee7ae91a5" providerId="ADAL" clId="{8659CC36-693C-479B-B738-87E8E3013C2B}" dt="2025-07-02T23:42:38.127" v="14122" actId="478"/>
          <ac:spMkLst>
            <pc:docMk/>
            <pc:sldMk cId="1109742819" sldId="2147476308"/>
            <ac:spMk id="15" creationId="{D043DB06-DDA6-5B1D-907B-272BC84915FE}"/>
          </ac:spMkLst>
        </pc:spChg>
        <pc:graphicFrameChg chg="mod">
          <ac:chgData name="Iimura, Jinichi" userId="9e18df6b-b397-4f9f-a1c6-0abee7ae91a5" providerId="ADAL" clId="{8659CC36-693C-479B-B738-87E8E3013C2B}" dt="2025-07-02T23:42:45.589" v="14124" actId="1076"/>
          <ac:graphicFrameMkLst>
            <pc:docMk/>
            <pc:sldMk cId="1109742819" sldId="2147476308"/>
            <ac:graphicFrameMk id="3" creationId="{A4E43284-57D5-B177-675E-BBDFD96678C7}"/>
          </ac:graphicFrameMkLst>
        </pc:graphicFrameChg>
      </pc:sldChg>
      <pc:sldChg chg="modSp add del mod">
        <pc:chgData name="Iimura, Jinichi" userId="9e18df6b-b397-4f9f-a1c6-0abee7ae91a5" providerId="ADAL" clId="{8659CC36-693C-479B-B738-87E8E3013C2B}" dt="2025-07-03T03:31:15.718" v="14693" actId="47"/>
        <pc:sldMkLst>
          <pc:docMk/>
          <pc:sldMk cId="3411454764" sldId="2147476309"/>
        </pc:sldMkLst>
        <pc:spChg chg="mod">
          <ac:chgData name="Iimura, Jinichi" userId="9e18df6b-b397-4f9f-a1c6-0abee7ae91a5" providerId="ADAL" clId="{8659CC36-693C-479B-B738-87E8E3013C2B}" dt="2025-07-03T03:24:18.640" v="14291" actId="20577"/>
          <ac:spMkLst>
            <pc:docMk/>
            <pc:sldMk cId="3411454764" sldId="2147476309"/>
            <ac:spMk id="91" creationId="{6CE6E245-6D90-A273-F2A0-D60BE5CDAECB}"/>
          </ac:spMkLst>
        </pc:spChg>
      </pc:sldChg>
      <pc:sldChg chg="addSp delSp modSp add mod ord">
        <pc:chgData name="Iimura, Jinichi" userId="9e18df6b-b397-4f9f-a1c6-0abee7ae91a5" providerId="ADAL" clId="{8659CC36-693C-479B-B738-87E8E3013C2B}" dt="2025-07-03T03:31:22.623" v="14694" actId="6549"/>
        <pc:sldMkLst>
          <pc:docMk/>
          <pc:sldMk cId="2138314949" sldId="2147476310"/>
        </pc:sldMkLst>
        <pc:spChg chg="mod ord">
          <ac:chgData name="Iimura, Jinichi" userId="9e18df6b-b397-4f9f-a1c6-0abee7ae91a5" providerId="ADAL" clId="{8659CC36-693C-479B-B738-87E8E3013C2B}" dt="2025-07-03T03:24:53.704" v="14308"/>
          <ac:spMkLst>
            <pc:docMk/>
            <pc:sldMk cId="2138314949" sldId="2147476310"/>
            <ac:spMk id="3" creationId="{251B3422-0C83-F0E0-CEB5-1398EC9D9C0C}"/>
          </ac:spMkLst>
        </pc:spChg>
        <pc:spChg chg="mod ord">
          <ac:chgData name="Iimura, Jinichi" userId="9e18df6b-b397-4f9f-a1c6-0abee7ae91a5" providerId="ADAL" clId="{8659CC36-693C-479B-B738-87E8E3013C2B}" dt="2025-07-03T03:24:53.703" v="14306"/>
          <ac:spMkLst>
            <pc:docMk/>
            <pc:sldMk cId="2138314949" sldId="2147476310"/>
            <ac:spMk id="4" creationId="{C0CD4ED1-0F74-83B6-F4AC-8C87103B97BF}"/>
          </ac:spMkLst>
        </pc:spChg>
        <pc:spChg chg="add mod">
          <ac:chgData name="Iimura, Jinichi" userId="9e18df6b-b397-4f9f-a1c6-0abee7ae91a5" providerId="ADAL" clId="{8659CC36-693C-479B-B738-87E8E3013C2B}" dt="2025-07-03T03:25:31.456" v="14349" actId="1076"/>
          <ac:spMkLst>
            <pc:docMk/>
            <pc:sldMk cId="2138314949" sldId="2147476310"/>
            <ac:spMk id="5" creationId="{B5E43FDB-EF85-840B-BF38-6398A2BF0162}"/>
          </ac:spMkLst>
        </pc:spChg>
        <pc:spChg chg="add mod">
          <ac:chgData name="Iimura, Jinichi" userId="9e18df6b-b397-4f9f-a1c6-0abee7ae91a5" providerId="ADAL" clId="{8659CC36-693C-479B-B738-87E8E3013C2B}" dt="2025-07-03T03:25:15.974" v="14344" actId="571"/>
          <ac:spMkLst>
            <pc:docMk/>
            <pc:sldMk cId="2138314949" sldId="2147476310"/>
            <ac:spMk id="8" creationId="{011D5147-CC63-DBBD-D501-2AA8FB65278E}"/>
          </ac:spMkLst>
        </pc:spChg>
        <pc:spChg chg="add mod">
          <ac:chgData name="Iimura, Jinichi" userId="9e18df6b-b397-4f9f-a1c6-0abee7ae91a5" providerId="ADAL" clId="{8659CC36-693C-479B-B738-87E8E3013C2B}" dt="2025-07-03T03:25:45.041" v="14354" actId="14100"/>
          <ac:spMkLst>
            <pc:docMk/>
            <pc:sldMk cId="2138314949" sldId="2147476310"/>
            <ac:spMk id="9" creationId="{0CDA77C4-D9E1-197F-EF98-4143C0FCB5B1}"/>
          </ac:spMkLst>
        </pc:spChg>
        <pc:spChg chg="add mod">
          <ac:chgData name="Iimura, Jinichi" userId="9e18df6b-b397-4f9f-a1c6-0abee7ae91a5" providerId="ADAL" clId="{8659CC36-693C-479B-B738-87E8E3013C2B}" dt="2025-07-03T03:28:57.345" v="14595"/>
          <ac:spMkLst>
            <pc:docMk/>
            <pc:sldMk cId="2138314949" sldId="2147476310"/>
            <ac:spMk id="10" creationId="{DFF3AF2C-DE02-6DE2-C162-00162E1D821F}"/>
          </ac:spMkLst>
        </pc:spChg>
        <pc:spChg chg="add mod">
          <ac:chgData name="Iimura, Jinichi" userId="9e18df6b-b397-4f9f-a1c6-0abee7ae91a5" providerId="ADAL" clId="{8659CC36-693C-479B-B738-87E8E3013C2B}" dt="2025-07-03T03:27:35.612" v="14499" actId="14100"/>
          <ac:spMkLst>
            <pc:docMk/>
            <pc:sldMk cId="2138314949" sldId="2147476310"/>
            <ac:spMk id="13" creationId="{92A470B8-4662-8C82-85CE-4C4BF367971F}"/>
          </ac:spMkLst>
        </pc:spChg>
        <pc:spChg chg="add mod">
          <ac:chgData name="Iimura, Jinichi" userId="9e18df6b-b397-4f9f-a1c6-0abee7ae91a5" providerId="ADAL" clId="{8659CC36-693C-479B-B738-87E8E3013C2B}" dt="2025-07-03T03:28:39.341" v="14588" actId="14100"/>
          <ac:spMkLst>
            <pc:docMk/>
            <pc:sldMk cId="2138314949" sldId="2147476310"/>
            <ac:spMk id="14" creationId="{42CD6000-418F-9DDE-B60E-DEEC3FFF5B57}"/>
          </ac:spMkLst>
        </pc:spChg>
        <pc:spChg chg="add del mod">
          <ac:chgData name="Iimura, Jinichi" userId="9e18df6b-b397-4f9f-a1c6-0abee7ae91a5" providerId="ADAL" clId="{8659CC36-693C-479B-B738-87E8E3013C2B}" dt="2025-07-03T03:29:53.260" v="14608" actId="478"/>
          <ac:spMkLst>
            <pc:docMk/>
            <pc:sldMk cId="2138314949" sldId="2147476310"/>
            <ac:spMk id="18" creationId="{4267FB54-E420-1FCD-D6A5-070A3E0E1283}"/>
          </ac:spMkLst>
        </pc:spChg>
        <pc:spChg chg="add mod">
          <ac:chgData name="Iimura, Jinichi" userId="9e18df6b-b397-4f9f-a1c6-0abee7ae91a5" providerId="ADAL" clId="{8659CC36-693C-479B-B738-87E8E3013C2B}" dt="2025-07-03T03:29:58.397" v="14610" actId="14100"/>
          <ac:spMkLst>
            <pc:docMk/>
            <pc:sldMk cId="2138314949" sldId="2147476310"/>
            <ac:spMk id="19" creationId="{21E25946-3689-FD87-8E77-0D0DED689D0F}"/>
          </ac:spMkLst>
        </pc:spChg>
        <pc:spChg chg="add mod">
          <ac:chgData name="Iimura, Jinichi" userId="9e18df6b-b397-4f9f-a1c6-0abee7ae91a5" providerId="ADAL" clId="{8659CC36-693C-479B-B738-87E8E3013C2B}" dt="2025-07-03T03:30:06.333" v="14613" actId="14100"/>
          <ac:spMkLst>
            <pc:docMk/>
            <pc:sldMk cId="2138314949" sldId="2147476310"/>
            <ac:spMk id="20" creationId="{F04F1677-000E-D503-8525-EC7CBAC5F428}"/>
          </ac:spMkLst>
        </pc:spChg>
        <pc:spChg chg="add mod">
          <ac:chgData name="Iimura, Jinichi" userId="9e18df6b-b397-4f9f-a1c6-0abee7ae91a5" providerId="ADAL" clId="{8659CC36-693C-479B-B738-87E8E3013C2B}" dt="2025-07-03T03:31:11.674" v="14692" actId="20577"/>
          <ac:spMkLst>
            <pc:docMk/>
            <pc:sldMk cId="2138314949" sldId="2147476310"/>
            <ac:spMk id="21" creationId="{8D9819E0-28E5-F364-2CCE-4662A192DCF3}"/>
          </ac:spMkLst>
        </pc:spChg>
        <pc:spChg chg="del mod ord">
          <ac:chgData name="Iimura, Jinichi" userId="9e18df6b-b397-4f9f-a1c6-0abee7ae91a5" providerId="ADAL" clId="{8659CC36-693C-479B-B738-87E8E3013C2B}" dt="2025-07-03T03:28:50.828" v="14591" actId="478"/>
          <ac:spMkLst>
            <pc:docMk/>
            <pc:sldMk cId="2138314949" sldId="2147476310"/>
            <ac:spMk id="27" creationId="{33C28B48-7D7F-8DE1-DB03-ABE7BD6C8C24}"/>
          </ac:spMkLst>
        </pc:spChg>
        <pc:spChg chg="mod ord">
          <ac:chgData name="Iimura, Jinichi" userId="9e18df6b-b397-4f9f-a1c6-0abee7ae91a5" providerId="ADAL" clId="{8659CC36-693C-479B-B738-87E8E3013C2B}" dt="2025-07-03T03:24:53.704" v="14310"/>
          <ac:spMkLst>
            <pc:docMk/>
            <pc:sldMk cId="2138314949" sldId="2147476310"/>
            <ac:spMk id="28" creationId="{B45C7C43-84BC-EB68-B34A-AAE39F6D8E9C}"/>
          </ac:spMkLst>
        </pc:spChg>
        <pc:spChg chg="del mod ord">
          <ac:chgData name="Iimura, Jinichi" userId="9e18df6b-b397-4f9f-a1c6-0abee7ae91a5" providerId="ADAL" clId="{8659CC36-693C-479B-B738-87E8E3013C2B}" dt="2025-07-03T03:28:51.341" v="14592" actId="478"/>
          <ac:spMkLst>
            <pc:docMk/>
            <pc:sldMk cId="2138314949" sldId="2147476310"/>
            <ac:spMk id="29" creationId="{BA78ADCD-AFEE-9013-2051-A4AE1052BDF0}"/>
          </ac:spMkLst>
        </pc:spChg>
        <pc:spChg chg="mod ord">
          <ac:chgData name="Iimura, Jinichi" userId="9e18df6b-b397-4f9f-a1c6-0abee7ae91a5" providerId="ADAL" clId="{8659CC36-693C-479B-B738-87E8E3013C2B}" dt="2025-07-03T03:30:25.417" v="14616"/>
          <ac:spMkLst>
            <pc:docMk/>
            <pc:sldMk cId="2138314949" sldId="2147476310"/>
            <ac:spMk id="30" creationId="{3448C59E-558C-342D-EA1A-7AE67789B08F}"/>
          </ac:spMkLst>
        </pc:spChg>
        <pc:spChg chg="del mod ord">
          <ac:chgData name="Iimura, Jinichi" userId="9e18df6b-b397-4f9f-a1c6-0abee7ae91a5" providerId="ADAL" clId="{8659CC36-693C-479B-B738-87E8E3013C2B}" dt="2025-07-03T03:28:54.782" v="14593" actId="478"/>
          <ac:spMkLst>
            <pc:docMk/>
            <pc:sldMk cId="2138314949" sldId="2147476310"/>
            <ac:spMk id="31" creationId="{D37B6B79-C61D-5F76-895C-94CB6A689E20}"/>
          </ac:spMkLst>
        </pc:spChg>
        <pc:spChg chg="mod ord">
          <ac:chgData name="Iimura, Jinichi" userId="9e18df6b-b397-4f9f-a1c6-0abee7ae91a5" providerId="ADAL" clId="{8659CC36-693C-479B-B738-87E8E3013C2B}" dt="2025-07-03T03:25:13.404" v="14342" actId="14100"/>
          <ac:spMkLst>
            <pc:docMk/>
            <pc:sldMk cId="2138314949" sldId="2147476310"/>
            <ac:spMk id="35" creationId="{56473014-D166-E9CA-FC1F-46A765F381A0}"/>
          </ac:spMkLst>
        </pc:spChg>
        <pc:spChg chg="del mod ord">
          <ac:chgData name="Iimura, Jinichi" userId="9e18df6b-b397-4f9f-a1c6-0abee7ae91a5" providerId="ADAL" clId="{8659CC36-693C-479B-B738-87E8E3013C2B}" dt="2025-07-03T03:25:06.386" v="14340" actId="478"/>
          <ac:spMkLst>
            <pc:docMk/>
            <pc:sldMk cId="2138314949" sldId="2147476310"/>
            <ac:spMk id="36" creationId="{9F0CADBE-6645-4BA8-A73A-5B462BF8A346}"/>
          </ac:spMkLst>
        </pc:spChg>
        <pc:spChg chg="mod ord">
          <ac:chgData name="Iimura, Jinichi" userId="9e18df6b-b397-4f9f-a1c6-0abee7ae91a5" providerId="ADAL" clId="{8659CC36-693C-479B-B738-87E8E3013C2B}" dt="2025-07-03T03:24:53.711" v="14334"/>
          <ac:spMkLst>
            <pc:docMk/>
            <pc:sldMk cId="2138314949" sldId="2147476310"/>
            <ac:spMk id="44" creationId="{0362D60C-DFD7-DF1F-AC72-237853166EE4}"/>
          </ac:spMkLst>
        </pc:spChg>
        <pc:spChg chg="mod ord">
          <ac:chgData name="Iimura, Jinichi" userId="9e18df6b-b397-4f9f-a1c6-0abee7ae91a5" providerId="ADAL" clId="{8659CC36-693C-479B-B738-87E8E3013C2B}" dt="2025-07-03T03:24:53.712" v="14336"/>
          <ac:spMkLst>
            <pc:docMk/>
            <pc:sldMk cId="2138314949" sldId="2147476310"/>
            <ac:spMk id="45" creationId="{5ED54640-6990-916B-D432-8CB228DC646D}"/>
          </ac:spMkLst>
        </pc:spChg>
        <pc:spChg chg="mod ord">
          <ac:chgData name="Iimura, Jinichi" userId="9e18df6b-b397-4f9f-a1c6-0abee7ae91a5" providerId="ADAL" clId="{8659CC36-693C-479B-B738-87E8E3013C2B}" dt="2025-07-03T03:31:22.623" v="14694" actId="6549"/>
          <ac:spMkLst>
            <pc:docMk/>
            <pc:sldMk cId="2138314949" sldId="2147476310"/>
            <ac:spMk id="91" creationId="{6CE6E245-6D90-A273-F2A0-D60BE5CDAECB}"/>
          </ac:spMkLst>
        </pc:spChg>
        <pc:spChg chg="mod ord">
          <ac:chgData name="Iimura, Jinichi" userId="9e18df6b-b397-4f9f-a1c6-0abee7ae91a5" providerId="ADAL" clId="{8659CC36-693C-479B-B738-87E8E3013C2B}" dt="2025-07-03T03:24:53.705" v="14314"/>
          <ac:spMkLst>
            <pc:docMk/>
            <pc:sldMk cId="2138314949" sldId="2147476310"/>
            <ac:spMk id="92" creationId="{FB29D3D2-993B-758A-AE64-338460FA6218}"/>
          </ac:spMkLst>
        </pc:spChg>
        <pc:grpChg chg="add del mod">
          <ac:chgData name="Iimura, Jinichi" userId="9e18df6b-b397-4f9f-a1c6-0abee7ae91a5" providerId="ADAL" clId="{8659CC36-693C-479B-B738-87E8E3013C2B}" dt="2025-07-03T03:29:37.962" v="14603" actId="165"/>
          <ac:grpSpMkLst>
            <pc:docMk/>
            <pc:sldMk cId="2138314949" sldId="2147476310"/>
            <ac:grpSpMk id="17" creationId="{E83065BF-BD50-BC48-C986-0090D9FCC997}"/>
          </ac:grpSpMkLst>
        </pc:grpChg>
        <pc:grpChg chg="mod ord">
          <ac:chgData name="Iimura, Jinichi" userId="9e18df6b-b397-4f9f-a1c6-0abee7ae91a5" providerId="ADAL" clId="{8659CC36-693C-479B-B738-87E8E3013C2B}" dt="2025-07-03T03:24:53.711" v="14332"/>
          <ac:grpSpMkLst>
            <pc:docMk/>
            <pc:sldMk cId="2138314949" sldId="2147476310"/>
            <ac:grpSpMk id="43" creationId="{01C20F29-2C08-8806-F1ED-A6637D44ABE3}"/>
          </ac:grpSpMkLst>
        </pc:grpChg>
        <pc:graphicFrameChg chg="mod">
          <ac:chgData name="Iimura, Jinichi" userId="9e18df6b-b397-4f9f-a1c6-0abee7ae91a5" providerId="ADAL" clId="{8659CC36-693C-479B-B738-87E8E3013C2B}" dt="2025-07-03T03:24:53.713" v="14338"/>
          <ac:graphicFrameMkLst>
            <pc:docMk/>
            <pc:sldMk cId="2138314949" sldId="2147476310"/>
            <ac:graphicFrameMk id="7" creationId="{2A84D1DA-97ED-2719-33EF-A13650BDF72A}"/>
          </ac:graphicFrameMkLst>
        </pc:graphicFrameChg>
        <pc:picChg chg="add mod ord modCrop">
          <ac:chgData name="Iimura, Jinichi" userId="9e18df6b-b397-4f9f-a1c6-0abee7ae91a5" providerId="ADAL" clId="{8659CC36-693C-479B-B738-87E8E3013C2B}" dt="2025-07-03T03:27:00.190" v="14488" actId="732"/>
          <ac:picMkLst>
            <pc:docMk/>
            <pc:sldMk cId="2138314949" sldId="2147476310"/>
            <ac:picMk id="2" creationId="{54D8FBF3-78A4-C6C7-50A5-CAAC3820E295}"/>
          </ac:picMkLst>
        </pc:picChg>
        <pc:picChg chg="add mod">
          <ac:chgData name="Iimura, Jinichi" userId="9e18df6b-b397-4f9f-a1c6-0abee7ae91a5" providerId="ADAL" clId="{8659CC36-693C-479B-B738-87E8E3013C2B}" dt="2025-07-03T03:25:15.974" v="14344" actId="571"/>
          <ac:picMkLst>
            <pc:docMk/>
            <pc:sldMk cId="2138314949" sldId="2147476310"/>
            <ac:picMk id="6" creationId="{9375AF06-B67E-51D3-5C01-5C4A3CB6784E}"/>
          </ac:picMkLst>
        </pc:picChg>
        <pc:picChg chg="add mod">
          <ac:chgData name="Iimura, Jinichi" userId="9e18df6b-b397-4f9f-a1c6-0abee7ae91a5" providerId="ADAL" clId="{8659CC36-693C-479B-B738-87E8E3013C2B}" dt="2025-07-03T03:27:26.868" v="14495" actId="14100"/>
          <ac:picMkLst>
            <pc:docMk/>
            <pc:sldMk cId="2138314949" sldId="2147476310"/>
            <ac:picMk id="11" creationId="{4A48F0E7-FB64-6AF5-A248-A232A236CE33}"/>
          </ac:picMkLst>
        </pc:picChg>
        <pc:picChg chg="add mod">
          <ac:chgData name="Iimura, Jinichi" userId="9e18df6b-b397-4f9f-a1c6-0abee7ae91a5" providerId="ADAL" clId="{8659CC36-693C-479B-B738-87E8E3013C2B}" dt="2025-07-03T03:27:29.443" v="14497" actId="571"/>
          <ac:picMkLst>
            <pc:docMk/>
            <pc:sldMk cId="2138314949" sldId="2147476310"/>
            <ac:picMk id="12" creationId="{3E7BEBB6-56A7-E5D2-7101-F6385FF79739}"/>
          </ac:picMkLst>
        </pc:picChg>
        <pc:picChg chg="add mod topLvl">
          <ac:chgData name="Iimura, Jinichi" userId="9e18df6b-b397-4f9f-a1c6-0abee7ae91a5" providerId="ADAL" clId="{8659CC36-693C-479B-B738-87E8E3013C2B}" dt="2025-07-03T03:29:41.282" v="14604" actId="1076"/>
          <ac:picMkLst>
            <pc:docMk/>
            <pc:sldMk cId="2138314949" sldId="2147476310"/>
            <ac:picMk id="15" creationId="{026AE101-D73D-B4AD-DABF-CC27D200D6BE}"/>
          </ac:picMkLst>
        </pc:picChg>
        <pc:picChg chg="add del mod topLvl">
          <ac:chgData name="Iimura, Jinichi" userId="9e18df6b-b397-4f9f-a1c6-0abee7ae91a5" providerId="ADAL" clId="{8659CC36-693C-479B-B738-87E8E3013C2B}" dt="2025-07-03T03:29:51.037" v="14607" actId="478"/>
          <ac:picMkLst>
            <pc:docMk/>
            <pc:sldMk cId="2138314949" sldId="2147476310"/>
            <ac:picMk id="16" creationId="{7EC0E4C6-0881-1C6A-BAF1-93B6E5E7F269}"/>
          </ac:picMkLst>
        </pc:picChg>
        <pc:picChg chg="del mod ord">
          <ac:chgData name="Iimura, Jinichi" userId="9e18df6b-b397-4f9f-a1c6-0abee7ae91a5" providerId="ADAL" clId="{8659CC36-693C-479B-B738-87E8E3013C2B}" dt="2025-07-03T03:28:48.778" v="14589" actId="478"/>
          <ac:picMkLst>
            <pc:docMk/>
            <pc:sldMk cId="2138314949" sldId="2147476310"/>
            <ac:picMk id="23" creationId="{C31E846A-07EE-3E2C-D63B-FD087572E5FA}"/>
          </ac:picMkLst>
        </pc:picChg>
        <pc:picChg chg="del mod ord">
          <ac:chgData name="Iimura, Jinichi" userId="9e18df6b-b397-4f9f-a1c6-0abee7ae91a5" providerId="ADAL" clId="{8659CC36-693C-479B-B738-87E8E3013C2B}" dt="2025-07-03T03:28:49.924" v="14590" actId="478"/>
          <ac:picMkLst>
            <pc:docMk/>
            <pc:sldMk cId="2138314949" sldId="2147476310"/>
            <ac:picMk id="24" creationId="{F255EA3F-4A23-7B42-7DB3-046DA39E78EC}"/>
          </ac:picMkLst>
        </pc:picChg>
        <pc:picChg chg="del">
          <ac:chgData name="Iimura, Jinichi" userId="9e18df6b-b397-4f9f-a1c6-0abee7ae91a5" providerId="ADAL" clId="{8659CC36-693C-479B-B738-87E8E3013C2B}" dt="2025-07-03T03:24:45.862" v="14296" actId="478"/>
          <ac:picMkLst>
            <pc:docMk/>
            <pc:sldMk cId="2138314949" sldId="2147476310"/>
            <ac:picMk id="34" creationId="{945BC11A-EA86-7D08-0448-DE513290B024}"/>
          </ac:picMkLst>
        </pc:picChg>
        <pc:picChg chg="del mod ord">
          <ac:chgData name="Iimura, Jinichi" userId="9e18df6b-b397-4f9f-a1c6-0abee7ae91a5" providerId="ADAL" clId="{8659CC36-693C-479B-B738-87E8E3013C2B}" dt="2025-07-03T03:27:14.994" v="14489" actId="478"/>
          <ac:picMkLst>
            <pc:docMk/>
            <pc:sldMk cId="2138314949" sldId="2147476310"/>
            <ac:picMk id="38" creationId="{E81242F2-58EA-6F6C-33AD-4A3F9EE2BB68}"/>
          </ac:picMkLst>
        </pc:picChg>
      </pc:sldChg>
    </pc:docChg>
  </pc:docChgLst>
  <pc:docChgLst>
    <pc:chgData name="Tamura, Shuhei" userId="cb61c1b9-acd5-495b-bf6b-cc9ea3fe5ebb" providerId="ADAL" clId="{3E13B0A1-E91C-4D30-B246-F6A975AF63E4}"/>
    <pc:docChg chg="undo custSel addSld delSld modSld modSection">
      <pc:chgData name="Tamura, Shuhei" userId="cb61c1b9-acd5-495b-bf6b-cc9ea3fe5ebb" providerId="ADAL" clId="{3E13B0A1-E91C-4D30-B246-F6A975AF63E4}" dt="2025-06-30T02:46:02.468" v="811" actId="20577"/>
      <pc:docMkLst>
        <pc:docMk/>
      </pc:docMkLst>
      <pc:sldChg chg="modSp mod">
        <pc:chgData name="Tamura, Shuhei" userId="cb61c1b9-acd5-495b-bf6b-cc9ea3fe5ebb" providerId="ADAL" clId="{3E13B0A1-E91C-4D30-B246-F6A975AF63E4}" dt="2025-06-30T02:30:15.310" v="682" actId="403"/>
        <pc:sldMkLst>
          <pc:docMk/>
          <pc:sldMk cId="823850065" sldId="2147476199"/>
        </pc:sldMkLst>
        <pc:spChg chg="mod">
          <ac:chgData name="Tamura, Shuhei" userId="cb61c1b9-acd5-495b-bf6b-cc9ea3fe5ebb" providerId="ADAL" clId="{3E13B0A1-E91C-4D30-B246-F6A975AF63E4}" dt="2025-06-30T02:21:56.924" v="573"/>
          <ac:spMkLst>
            <pc:docMk/>
            <pc:sldMk cId="823850065" sldId="2147476199"/>
            <ac:spMk id="4" creationId="{2BB1540D-A685-4E1B-B317-DC9AFFB19144}"/>
          </ac:spMkLst>
        </pc:spChg>
        <pc:spChg chg="mod">
          <ac:chgData name="Tamura, Shuhei" userId="cb61c1b9-acd5-495b-bf6b-cc9ea3fe5ebb" providerId="ADAL" clId="{3E13B0A1-E91C-4D30-B246-F6A975AF63E4}" dt="2025-06-30T02:30:15.310" v="682" actId="403"/>
          <ac:spMkLst>
            <pc:docMk/>
            <pc:sldMk cId="823850065" sldId="2147476199"/>
            <ac:spMk id="5" creationId="{42DFA4FD-49DC-4731-ADFC-2219F4A8B4A7}"/>
          </ac:spMkLst>
        </pc:spChg>
      </pc:sldChg>
      <pc:sldChg chg="addSp delSp modSp mod">
        <pc:chgData name="Tamura, Shuhei" userId="cb61c1b9-acd5-495b-bf6b-cc9ea3fe5ebb" providerId="ADAL" clId="{3E13B0A1-E91C-4D30-B246-F6A975AF63E4}" dt="2025-06-30T02:24:44.348" v="639" actId="20577"/>
        <pc:sldMkLst>
          <pc:docMk/>
          <pc:sldMk cId="1018229851" sldId="2147476231"/>
        </pc:sldMkLst>
        <pc:spChg chg="add mod">
          <ac:chgData name="Tamura, Shuhei" userId="cb61c1b9-acd5-495b-bf6b-cc9ea3fe5ebb" providerId="ADAL" clId="{3E13B0A1-E91C-4D30-B246-F6A975AF63E4}" dt="2025-06-30T02:24:44.348" v="639" actId="20577"/>
          <ac:spMkLst>
            <pc:docMk/>
            <pc:sldMk cId="1018229851" sldId="2147476231"/>
            <ac:spMk id="3" creationId="{92B1440F-EDDA-15F7-1728-C1ACE23014CC}"/>
          </ac:spMkLst>
        </pc:spChg>
        <pc:spChg chg="del">
          <ac:chgData name="Tamura, Shuhei" userId="cb61c1b9-acd5-495b-bf6b-cc9ea3fe5ebb" providerId="ADAL" clId="{3E13B0A1-E91C-4D30-B246-F6A975AF63E4}" dt="2025-06-30T02:24:30.204" v="607" actId="478"/>
          <ac:spMkLst>
            <pc:docMk/>
            <pc:sldMk cId="1018229851" sldId="2147476231"/>
            <ac:spMk id="10" creationId="{63BB9C2C-DCF6-C3B2-75F2-A145BE2371C9}"/>
          </ac:spMkLst>
        </pc:spChg>
      </pc:sldChg>
      <pc:sldChg chg="addSp delSp modSp mod">
        <pc:chgData name="Tamura, Shuhei" userId="cb61c1b9-acd5-495b-bf6b-cc9ea3fe5ebb" providerId="ADAL" clId="{3E13B0A1-E91C-4D30-B246-F6A975AF63E4}" dt="2025-06-30T02:29:30.332" v="672" actId="27636"/>
        <pc:sldMkLst>
          <pc:docMk/>
          <pc:sldMk cId="1859531097" sldId="2147476249"/>
        </pc:sldMkLst>
        <pc:spChg chg="add mod">
          <ac:chgData name="Tamura, Shuhei" userId="cb61c1b9-acd5-495b-bf6b-cc9ea3fe5ebb" providerId="ADAL" clId="{3E13B0A1-E91C-4D30-B246-F6A975AF63E4}" dt="2025-06-30T02:29:30.332" v="672" actId="27636"/>
          <ac:spMkLst>
            <pc:docMk/>
            <pc:sldMk cId="1859531097" sldId="2147476249"/>
            <ac:spMk id="3" creationId="{D26E4138-15E8-5742-9FBA-E7FBE80D915F}"/>
          </ac:spMkLst>
        </pc:spChg>
        <pc:spChg chg="mod">
          <ac:chgData name="Tamura, Shuhei" userId="cb61c1b9-acd5-495b-bf6b-cc9ea3fe5ebb" providerId="ADAL" clId="{3E13B0A1-E91C-4D30-B246-F6A975AF63E4}" dt="2025-06-30T02:11:34.961" v="164"/>
          <ac:spMkLst>
            <pc:docMk/>
            <pc:sldMk cId="1859531097" sldId="2147476249"/>
            <ac:spMk id="4" creationId="{C0CD4ED1-0F74-83B6-F4AC-8C87103B97BF}"/>
          </ac:spMkLst>
        </pc:spChg>
        <pc:spChg chg="del mod">
          <ac:chgData name="Tamura, Shuhei" userId="cb61c1b9-acd5-495b-bf6b-cc9ea3fe5ebb" providerId="ADAL" clId="{3E13B0A1-E91C-4D30-B246-F6A975AF63E4}" dt="2025-06-30T02:17:09.231" v="259" actId="478"/>
          <ac:spMkLst>
            <pc:docMk/>
            <pc:sldMk cId="1859531097" sldId="2147476249"/>
            <ac:spMk id="9" creationId="{7FAB7FED-86C0-349A-32E6-486F205BB8B9}"/>
          </ac:spMkLst>
        </pc:spChg>
      </pc:sldChg>
      <pc:sldChg chg="addSp modSp mod">
        <pc:chgData name="Tamura, Shuhei" userId="cb61c1b9-acd5-495b-bf6b-cc9ea3fe5ebb" providerId="ADAL" clId="{3E13B0A1-E91C-4D30-B246-F6A975AF63E4}" dt="2025-06-30T02:29:47.786" v="678" actId="27636"/>
        <pc:sldMkLst>
          <pc:docMk/>
          <pc:sldMk cId="714483222" sldId="2147476251"/>
        </pc:sldMkLst>
        <pc:spChg chg="add mod">
          <ac:chgData name="Tamura, Shuhei" userId="cb61c1b9-acd5-495b-bf6b-cc9ea3fe5ebb" providerId="ADAL" clId="{3E13B0A1-E91C-4D30-B246-F6A975AF63E4}" dt="2025-06-30T02:29:47.786" v="678" actId="27636"/>
          <ac:spMkLst>
            <pc:docMk/>
            <pc:sldMk cId="714483222" sldId="2147476251"/>
            <ac:spMk id="2" creationId="{8C7248DA-8503-9EF0-B175-7D9E97972DDA}"/>
          </ac:spMkLst>
        </pc:spChg>
        <pc:spChg chg="mod">
          <ac:chgData name="Tamura, Shuhei" userId="cb61c1b9-acd5-495b-bf6b-cc9ea3fe5ebb" providerId="ADAL" clId="{3E13B0A1-E91C-4D30-B246-F6A975AF63E4}" dt="2025-06-30T02:11:42.963" v="166"/>
          <ac:spMkLst>
            <pc:docMk/>
            <pc:sldMk cId="714483222" sldId="2147476251"/>
            <ac:spMk id="4" creationId="{C0CD4ED1-0F74-83B6-F4AC-8C87103B97BF}"/>
          </ac:spMkLst>
        </pc:spChg>
        <pc:spChg chg="mod">
          <ac:chgData name="Tamura, Shuhei" userId="cb61c1b9-acd5-495b-bf6b-cc9ea3fe5ebb" providerId="ADAL" clId="{3E13B0A1-E91C-4D30-B246-F6A975AF63E4}" dt="2025-06-30T02:19:21.504" v="425" actId="1035"/>
          <ac:spMkLst>
            <pc:docMk/>
            <pc:sldMk cId="714483222" sldId="2147476251"/>
            <ac:spMk id="9" creationId="{7FAB7FED-86C0-349A-32E6-486F205BB8B9}"/>
          </ac:spMkLst>
        </pc:spChg>
      </pc:sldChg>
      <pc:sldChg chg="modSp mod">
        <pc:chgData name="Tamura, Shuhei" userId="cb61c1b9-acd5-495b-bf6b-cc9ea3fe5ebb" providerId="ADAL" clId="{3E13B0A1-E91C-4D30-B246-F6A975AF63E4}" dt="2025-06-30T02:30:31.149" v="683" actId="403"/>
        <pc:sldMkLst>
          <pc:docMk/>
          <pc:sldMk cId="3924730848" sldId="2147476252"/>
        </pc:sldMkLst>
        <pc:spChg chg="mod">
          <ac:chgData name="Tamura, Shuhei" userId="cb61c1b9-acd5-495b-bf6b-cc9ea3fe5ebb" providerId="ADAL" clId="{3E13B0A1-E91C-4D30-B246-F6A975AF63E4}" dt="2025-06-30T02:30:31.149" v="683" actId="403"/>
          <ac:spMkLst>
            <pc:docMk/>
            <pc:sldMk cId="3924730848" sldId="2147476252"/>
            <ac:spMk id="3" creationId="{1E34451F-92DA-79B3-D1F0-D2B52A45005B}"/>
          </ac:spMkLst>
        </pc:spChg>
        <pc:spChg chg="mod">
          <ac:chgData name="Tamura, Shuhei" userId="cb61c1b9-acd5-495b-bf6b-cc9ea3fe5ebb" providerId="ADAL" clId="{3E13B0A1-E91C-4D30-B246-F6A975AF63E4}" dt="2025-06-30T02:13:00.790" v="172"/>
          <ac:spMkLst>
            <pc:docMk/>
            <pc:sldMk cId="3924730848" sldId="2147476252"/>
            <ac:spMk id="4" creationId="{20240A8E-9B73-AE5A-5D61-C7E42CFDAB6C}"/>
          </ac:spMkLst>
        </pc:spChg>
      </pc:sldChg>
      <pc:sldChg chg="modSp mod">
        <pc:chgData name="Tamura, Shuhei" userId="cb61c1b9-acd5-495b-bf6b-cc9ea3fe5ebb" providerId="ADAL" clId="{3E13B0A1-E91C-4D30-B246-F6A975AF63E4}" dt="2025-06-30T02:45:10.704" v="801"/>
        <pc:sldMkLst>
          <pc:docMk/>
          <pc:sldMk cId="332745846" sldId="2147476253"/>
        </pc:sldMkLst>
        <pc:spChg chg="mod">
          <ac:chgData name="Tamura, Shuhei" userId="cb61c1b9-acd5-495b-bf6b-cc9ea3fe5ebb" providerId="ADAL" clId="{3E13B0A1-E91C-4D30-B246-F6A975AF63E4}" dt="2025-06-30T02:43:58.210" v="794" actId="20577"/>
          <ac:spMkLst>
            <pc:docMk/>
            <pc:sldMk cId="332745846" sldId="2147476253"/>
            <ac:spMk id="3" creationId="{1E34451F-92DA-79B3-D1F0-D2B52A45005B}"/>
          </ac:spMkLst>
        </pc:spChg>
        <pc:spChg chg="mod">
          <ac:chgData name="Tamura, Shuhei" userId="cb61c1b9-acd5-495b-bf6b-cc9ea3fe5ebb" providerId="ADAL" clId="{3E13B0A1-E91C-4D30-B246-F6A975AF63E4}" dt="2025-06-30T02:45:10.704" v="801"/>
          <ac:spMkLst>
            <pc:docMk/>
            <pc:sldMk cId="332745846" sldId="2147476253"/>
            <ac:spMk id="4" creationId="{20240A8E-9B73-AE5A-5D61-C7E42CFDAB6C}"/>
          </ac:spMkLst>
        </pc:spChg>
      </pc:sldChg>
      <pc:sldChg chg="modSp mod">
        <pc:chgData name="Tamura, Shuhei" userId="cb61c1b9-acd5-495b-bf6b-cc9ea3fe5ebb" providerId="ADAL" clId="{3E13B0A1-E91C-4D30-B246-F6A975AF63E4}" dt="2025-06-30T02:43:32.508" v="787" actId="20577"/>
        <pc:sldMkLst>
          <pc:docMk/>
          <pc:sldMk cId="2275528936" sldId="2147476254"/>
        </pc:sldMkLst>
        <pc:spChg chg="mod">
          <ac:chgData name="Tamura, Shuhei" userId="cb61c1b9-acd5-495b-bf6b-cc9ea3fe5ebb" providerId="ADAL" clId="{3E13B0A1-E91C-4D30-B246-F6A975AF63E4}" dt="2025-06-30T02:43:32.508" v="787" actId="20577"/>
          <ac:spMkLst>
            <pc:docMk/>
            <pc:sldMk cId="2275528936" sldId="2147476254"/>
            <ac:spMk id="3" creationId="{1E34451F-92DA-79B3-D1F0-D2B52A45005B}"/>
          </ac:spMkLst>
        </pc:spChg>
        <pc:spChg chg="mod">
          <ac:chgData name="Tamura, Shuhei" userId="cb61c1b9-acd5-495b-bf6b-cc9ea3fe5ebb" providerId="ADAL" clId="{3E13B0A1-E91C-4D30-B246-F6A975AF63E4}" dt="2025-06-30T02:13:16.827" v="174"/>
          <ac:spMkLst>
            <pc:docMk/>
            <pc:sldMk cId="2275528936" sldId="2147476254"/>
            <ac:spMk id="4" creationId="{20240A8E-9B73-AE5A-5D61-C7E42CFDAB6C}"/>
          </ac:spMkLst>
        </pc:spChg>
      </pc:sldChg>
      <pc:sldChg chg="modSp mod">
        <pc:chgData name="Tamura, Shuhei" userId="cb61c1b9-acd5-495b-bf6b-cc9ea3fe5ebb" providerId="ADAL" clId="{3E13B0A1-E91C-4D30-B246-F6A975AF63E4}" dt="2025-06-30T02:45:35.653" v="806" actId="20577"/>
        <pc:sldMkLst>
          <pc:docMk/>
          <pc:sldMk cId="3355206452" sldId="2147476255"/>
        </pc:sldMkLst>
        <pc:spChg chg="mod">
          <ac:chgData name="Tamura, Shuhei" userId="cb61c1b9-acd5-495b-bf6b-cc9ea3fe5ebb" providerId="ADAL" clId="{3E13B0A1-E91C-4D30-B246-F6A975AF63E4}" dt="2025-06-30T02:45:35.653" v="806" actId="20577"/>
          <ac:spMkLst>
            <pc:docMk/>
            <pc:sldMk cId="3355206452" sldId="2147476255"/>
            <ac:spMk id="3" creationId="{1E34451F-92DA-79B3-D1F0-D2B52A45005B}"/>
          </ac:spMkLst>
        </pc:spChg>
        <pc:spChg chg="mod">
          <ac:chgData name="Tamura, Shuhei" userId="cb61c1b9-acd5-495b-bf6b-cc9ea3fe5ebb" providerId="ADAL" clId="{3E13B0A1-E91C-4D30-B246-F6A975AF63E4}" dt="2025-06-30T02:13:21.557" v="175"/>
          <ac:spMkLst>
            <pc:docMk/>
            <pc:sldMk cId="3355206452" sldId="2147476255"/>
            <ac:spMk id="4" creationId="{20240A8E-9B73-AE5A-5D61-C7E42CFDAB6C}"/>
          </ac:spMkLst>
        </pc:spChg>
      </pc:sldChg>
      <pc:sldChg chg="addSp modSp mod">
        <pc:chgData name="Tamura, Shuhei" userId="cb61c1b9-acd5-495b-bf6b-cc9ea3fe5ebb" providerId="ADAL" clId="{3E13B0A1-E91C-4D30-B246-F6A975AF63E4}" dt="2025-06-30T02:24:07.930" v="606" actId="255"/>
        <pc:sldMkLst>
          <pc:docMk/>
          <pc:sldMk cId="675257603" sldId="2147476257"/>
        </pc:sldMkLst>
        <pc:spChg chg="mod">
          <ac:chgData name="Tamura, Shuhei" userId="cb61c1b9-acd5-495b-bf6b-cc9ea3fe5ebb" providerId="ADAL" clId="{3E13B0A1-E91C-4D30-B246-F6A975AF63E4}" dt="2025-06-30T02:04:44.259" v="59"/>
          <ac:spMkLst>
            <pc:docMk/>
            <pc:sldMk cId="675257603" sldId="2147476257"/>
            <ac:spMk id="4" creationId="{BE23AE77-CEAB-36A7-A61B-D1A32051ACD2}"/>
          </ac:spMkLst>
        </pc:spChg>
        <pc:spChg chg="add mod">
          <ac:chgData name="Tamura, Shuhei" userId="cb61c1b9-acd5-495b-bf6b-cc9ea3fe5ebb" providerId="ADAL" clId="{3E13B0A1-E91C-4D30-B246-F6A975AF63E4}" dt="2025-06-30T02:24:07.930" v="606" actId="255"/>
          <ac:spMkLst>
            <pc:docMk/>
            <pc:sldMk cId="675257603" sldId="2147476257"/>
            <ac:spMk id="14" creationId="{FD2B0966-FF33-C8AB-B4EA-C1A2AEA7870C}"/>
          </ac:spMkLst>
        </pc:spChg>
      </pc:sldChg>
      <pc:sldChg chg="addSp delSp modSp mod">
        <pc:chgData name="Tamura, Shuhei" userId="cb61c1b9-acd5-495b-bf6b-cc9ea3fe5ebb" providerId="ADAL" clId="{3E13B0A1-E91C-4D30-B246-F6A975AF63E4}" dt="2025-06-30T02:25:05.149" v="641"/>
        <pc:sldMkLst>
          <pc:docMk/>
          <pc:sldMk cId="101618977" sldId="2147476258"/>
        </pc:sldMkLst>
        <pc:spChg chg="mod">
          <ac:chgData name="Tamura, Shuhei" userId="cb61c1b9-acd5-495b-bf6b-cc9ea3fe5ebb" providerId="ADAL" clId="{3E13B0A1-E91C-4D30-B246-F6A975AF63E4}" dt="2025-06-30T02:03:53.112" v="48" actId="1036"/>
          <ac:spMkLst>
            <pc:docMk/>
            <pc:sldMk cId="101618977" sldId="2147476258"/>
            <ac:spMk id="2" creationId="{DEF3795D-40A6-30F0-9738-4A6C978F90FB}"/>
          </ac:spMkLst>
        </pc:spChg>
        <pc:spChg chg="mod">
          <ac:chgData name="Tamura, Shuhei" userId="cb61c1b9-acd5-495b-bf6b-cc9ea3fe5ebb" providerId="ADAL" clId="{3E13B0A1-E91C-4D30-B246-F6A975AF63E4}" dt="2025-06-30T02:03:53.112" v="48" actId="1036"/>
          <ac:spMkLst>
            <pc:docMk/>
            <pc:sldMk cId="101618977" sldId="2147476258"/>
            <ac:spMk id="3" creationId="{AD04AFEF-C73B-87E0-C3D3-C42C2F3ACF7F}"/>
          </ac:spMkLst>
        </pc:spChg>
        <pc:spChg chg="mod">
          <ac:chgData name="Tamura, Shuhei" userId="cb61c1b9-acd5-495b-bf6b-cc9ea3fe5ebb" providerId="ADAL" clId="{3E13B0A1-E91C-4D30-B246-F6A975AF63E4}" dt="2025-06-30T02:04:48.449" v="60"/>
          <ac:spMkLst>
            <pc:docMk/>
            <pc:sldMk cId="101618977" sldId="2147476258"/>
            <ac:spMk id="4" creationId="{BE23AE77-CEAB-36A7-A61B-D1A32051ACD2}"/>
          </ac:spMkLst>
        </pc:spChg>
        <pc:spChg chg="mod">
          <ac:chgData name="Tamura, Shuhei" userId="cb61c1b9-acd5-495b-bf6b-cc9ea3fe5ebb" providerId="ADAL" clId="{3E13B0A1-E91C-4D30-B246-F6A975AF63E4}" dt="2025-06-30T02:03:53.112" v="48" actId="1036"/>
          <ac:spMkLst>
            <pc:docMk/>
            <pc:sldMk cId="101618977" sldId="2147476258"/>
            <ac:spMk id="7" creationId="{211F507A-E9EA-F428-8961-93739F3A269A}"/>
          </ac:spMkLst>
        </pc:spChg>
        <pc:spChg chg="add del mod">
          <ac:chgData name="Tamura, Shuhei" userId="cb61c1b9-acd5-495b-bf6b-cc9ea3fe5ebb" providerId="ADAL" clId="{3E13B0A1-E91C-4D30-B246-F6A975AF63E4}" dt="2025-06-30T02:25:04.519" v="640" actId="478"/>
          <ac:spMkLst>
            <pc:docMk/>
            <pc:sldMk cId="101618977" sldId="2147476258"/>
            <ac:spMk id="8" creationId="{03AEBE1F-B3A5-0885-C87E-06D8FCF048CE}"/>
          </ac:spMkLst>
        </pc:spChg>
        <pc:spChg chg="add mod">
          <ac:chgData name="Tamura, Shuhei" userId="cb61c1b9-acd5-495b-bf6b-cc9ea3fe5ebb" providerId="ADAL" clId="{3E13B0A1-E91C-4D30-B246-F6A975AF63E4}" dt="2025-06-30T02:25:05.149" v="641"/>
          <ac:spMkLst>
            <pc:docMk/>
            <pc:sldMk cId="101618977" sldId="2147476258"/>
            <ac:spMk id="10" creationId="{7C71785F-2B2E-6DD4-39C7-DC4EEF03EAFF}"/>
          </ac:spMkLst>
        </pc:spChg>
        <pc:spChg chg="mod">
          <ac:chgData name="Tamura, Shuhei" userId="cb61c1b9-acd5-495b-bf6b-cc9ea3fe5ebb" providerId="ADAL" clId="{3E13B0A1-E91C-4D30-B246-F6A975AF63E4}" dt="2025-06-30T02:03:53.112" v="48" actId="1036"/>
          <ac:spMkLst>
            <pc:docMk/>
            <pc:sldMk cId="101618977" sldId="2147476258"/>
            <ac:spMk id="14" creationId="{45272D10-EC28-3B8A-ADD6-45BD8FF230DB}"/>
          </ac:spMkLst>
        </pc:spChg>
        <pc:spChg chg="mod">
          <ac:chgData name="Tamura, Shuhei" userId="cb61c1b9-acd5-495b-bf6b-cc9ea3fe5ebb" providerId="ADAL" clId="{3E13B0A1-E91C-4D30-B246-F6A975AF63E4}" dt="2025-06-30T02:03:53.112" v="48" actId="1036"/>
          <ac:spMkLst>
            <pc:docMk/>
            <pc:sldMk cId="101618977" sldId="2147476258"/>
            <ac:spMk id="18" creationId="{BE591354-F509-B457-9768-88AAAF10C51F}"/>
          </ac:spMkLst>
        </pc:spChg>
        <pc:spChg chg="mod">
          <ac:chgData name="Tamura, Shuhei" userId="cb61c1b9-acd5-495b-bf6b-cc9ea3fe5ebb" providerId="ADAL" clId="{3E13B0A1-E91C-4D30-B246-F6A975AF63E4}" dt="2025-06-30T02:03:53.112" v="48" actId="1036"/>
          <ac:spMkLst>
            <pc:docMk/>
            <pc:sldMk cId="101618977" sldId="2147476258"/>
            <ac:spMk id="20" creationId="{4EFF6E2C-C61E-8500-AA3A-2B498D500A81}"/>
          </ac:spMkLst>
        </pc:spChg>
        <pc:spChg chg="mod">
          <ac:chgData name="Tamura, Shuhei" userId="cb61c1b9-acd5-495b-bf6b-cc9ea3fe5ebb" providerId="ADAL" clId="{3E13B0A1-E91C-4D30-B246-F6A975AF63E4}" dt="2025-06-30T02:03:53.112" v="48" actId="1036"/>
          <ac:spMkLst>
            <pc:docMk/>
            <pc:sldMk cId="101618977" sldId="2147476258"/>
            <ac:spMk id="25" creationId="{F9DE7637-4942-547C-6548-82110984FE23}"/>
          </ac:spMkLst>
        </pc:spChg>
        <pc:spChg chg="mod">
          <ac:chgData name="Tamura, Shuhei" userId="cb61c1b9-acd5-495b-bf6b-cc9ea3fe5ebb" providerId="ADAL" clId="{3E13B0A1-E91C-4D30-B246-F6A975AF63E4}" dt="2025-06-30T02:03:53.112" v="48" actId="1036"/>
          <ac:spMkLst>
            <pc:docMk/>
            <pc:sldMk cId="101618977" sldId="2147476258"/>
            <ac:spMk id="31" creationId="{C021923C-2682-AAAC-FF40-D62BDF0507F7}"/>
          </ac:spMkLst>
        </pc:spChg>
        <pc:spChg chg="mod">
          <ac:chgData name="Tamura, Shuhei" userId="cb61c1b9-acd5-495b-bf6b-cc9ea3fe5ebb" providerId="ADAL" clId="{3E13B0A1-E91C-4D30-B246-F6A975AF63E4}" dt="2025-06-30T02:03:53.112" v="48" actId="1036"/>
          <ac:spMkLst>
            <pc:docMk/>
            <pc:sldMk cId="101618977" sldId="2147476258"/>
            <ac:spMk id="34" creationId="{BF9859E4-08FE-1780-4221-486D77C9B8B5}"/>
          </ac:spMkLst>
        </pc:spChg>
        <pc:spChg chg="mod">
          <ac:chgData name="Tamura, Shuhei" userId="cb61c1b9-acd5-495b-bf6b-cc9ea3fe5ebb" providerId="ADAL" clId="{3E13B0A1-E91C-4D30-B246-F6A975AF63E4}" dt="2025-06-30T02:03:53.112" v="48" actId="1036"/>
          <ac:spMkLst>
            <pc:docMk/>
            <pc:sldMk cId="101618977" sldId="2147476258"/>
            <ac:spMk id="35" creationId="{71EAC60E-DDA7-63D8-B716-976588EB3617}"/>
          </ac:spMkLst>
        </pc:spChg>
        <pc:spChg chg="mod">
          <ac:chgData name="Tamura, Shuhei" userId="cb61c1b9-acd5-495b-bf6b-cc9ea3fe5ebb" providerId="ADAL" clId="{3E13B0A1-E91C-4D30-B246-F6A975AF63E4}" dt="2025-06-30T02:03:53.112" v="48" actId="1036"/>
          <ac:spMkLst>
            <pc:docMk/>
            <pc:sldMk cId="101618977" sldId="2147476258"/>
            <ac:spMk id="36" creationId="{395B37F0-0D5A-40CB-A88C-F93B8E090ED0}"/>
          </ac:spMkLst>
        </pc:spChg>
        <pc:spChg chg="mod">
          <ac:chgData name="Tamura, Shuhei" userId="cb61c1b9-acd5-495b-bf6b-cc9ea3fe5ebb" providerId="ADAL" clId="{3E13B0A1-E91C-4D30-B246-F6A975AF63E4}" dt="2025-06-30T02:03:53.112" v="48" actId="1036"/>
          <ac:spMkLst>
            <pc:docMk/>
            <pc:sldMk cId="101618977" sldId="2147476258"/>
            <ac:spMk id="40" creationId="{31F049ED-A9AF-0975-33B3-C6DED614BCC7}"/>
          </ac:spMkLst>
        </pc:spChg>
        <pc:spChg chg="mod">
          <ac:chgData name="Tamura, Shuhei" userId="cb61c1b9-acd5-495b-bf6b-cc9ea3fe5ebb" providerId="ADAL" clId="{3E13B0A1-E91C-4D30-B246-F6A975AF63E4}" dt="2025-06-30T02:03:53.112" v="48" actId="1036"/>
          <ac:spMkLst>
            <pc:docMk/>
            <pc:sldMk cId="101618977" sldId="2147476258"/>
            <ac:spMk id="47" creationId="{504B4E28-3BFD-709B-8BD5-DECCAC3FBC3D}"/>
          </ac:spMkLst>
        </pc:spChg>
        <pc:spChg chg="mod">
          <ac:chgData name="Tamura, Shuhei" userId="cb61c1b9-acd5-495b-bf6b-cc9ea3fe5ebb" providerId="ADAL" clId="{3E13B0A1-E91C-4D30-B246-F6A975AF63E4}" dt="2025-06-30T02:03:53.112" v="48" actId="1036"/>
          <ac:spMkLst>
            <pc:docMk/>
            <pc:sldMk cId="101618977" sldId="2147476258"/>
            <ac:spMk id="48" creationId="{9A8B8CB7-C24F-AD19-432E-E5D68F28C566}"/>
          </ac:spMkLst>
        </pc:spChg>
        <pc:spChg chg="mod">
          <ac:chgData name="Tamura, Shuhei" userId="cb61c1b9-acd5-495b-bf6b-cc9ea3fe5ebb" providerId="ADAL" clId="{3E13B0A1-E91C-4D30-B246-F6A975AF63E4}" dt="2025-06-30T02:03:53.112" v="48" actId="1036"/>
          <ac:spMkLst>
            <pc:docMk/>
            <pc:sldMk cId="101618977" sldId="2147476258"/>
            <ac:spMk id="60" creationId="{3C8C469C-E8F2-97DE-81D9-3677ACD65DEF}"/>
          </ac:spMkLst>
        </pc:spChg>
        <pc:spChg chg="mod">
          <ac:chgData name="Tamura, Shuhei" userId="cb61c1b9-acd5-495b-bf6b-cc9ea3fe5ebb" providerId="ADAL" clId="{3E13B0A1-E91C-4D30-B246-F6A975AF63E4}" dt="2025-06-30T02:03:53.112" v="48" actId="1036"/>
          <ac:spMkLst>
            <pc:docMk/>
            <pc:sldMk cId="101618977" sldId="2147476258"/>
            <ac:spMk id="62" creationId="{98A60C22-2AEC-2D31-CCD1-947EDF8FCBEE}"/>
          </ac:spMkLst>
        </pc:spChg>
        <pc:spChg chg="mod">
          <ac:chgData name="Tamura, Shuhei" userId="cb61c1b9-acd5-495b-bf6b-cc9ea3fe5ebb" providerId="ADAL" clId="{3E13B0A1-E91C-4D30-B246-F6A975AF63E4}" dt="2025-06-30T02:03:53.112" v="48" actId="1036"/>
          <ac:spMkLst>
            <pc:docMk/>
            <pc:sldMk cId="101618977" sldId="2147476258"/>
            <ac:spMk id="63" creationId="{C54F0794-0124-DB29-0DF5-74F2B5E6D5BB}"/>
          </ac:spMkLst>
        </pc:spChg>
        <pc:graphicFrameChg chg="mod">
          <ac:chgData name="Tamura, Shuhei" userId="cb61c1b9-acd5-495b-bf6b-cc9ea3fe5ebb" providerId="ADAL" clId="{3E13B0A1-E91C-4D30-B246-F6A975AF63E4}" dt="2025-06-30T02:03:53.112" v="48" actId="1036"/>
          <ac:graphicFrameMkLst>
            <pc:docMk/>
            <pc:sldMk cId="101618977" sldId="2147476258"/>
            <ac:graphicFrameMk id="6" creationId="{CA8E2A68-9716-173E-515E-C9C3A14F91D1}"/>
          </ac:graphicFrameMkLst>
        </pc:graphicFrameChg>
        <pc:cxnChg chg="mod">
          <ac:chgData name="Tamura, Shuhei" userId="cb61c1b9-acd5-495b-bf6b-cc9ea3fe5ebb" providerId="ADAL" clId="{3E13B0A1-E91C-4D30-B246-F6A975AF63E4}" dt="2025-06-30T02:03:53.112" v="48" actId="1036"/>
          <ac:cxnSpMkLst>
            <pc:docMk/>
            <pc:sldMk cId="101618977" sldId="2147476258"/>
            <ac:cxnSpMk id="9" creationId="{F2F5083B-A84E-0391-5B2E-7E2C91B4FE83}"/>
          </ac:cxnSpMkLst>
        </pc:cxnChg>
        <pc:cxnChg chg="mod">
          <ac:chgData name="Tamura, Shuhei" userId="cb61c1b9-acd5-495b-bf6b-cc9ea3fe5ebb" providerId="ADAL" clId="{3E13B0A1-E91C-4D30-B246-F6A975AF63E4}" dt="2025-06-30T02:03:53.112" v="48" actId="1036"/>
          <ac:cxnSpMkLst>
            <pc:docMk/>
            <pc:sldMk cId="101618977" sldId="2147476258"/>
            <ac:cxnSpMk id="11" creationId="{1738EC23-D352-3720-F879-5D3CB7099D51}"/>
          </ac:cxnSpMkLst>
        </pc:cxnChg>
        <pc:cxnChg chg="mod">
          <ac:chgData name="Tamura, Shuhei" userId="cb61c1b9-acd5-495b-bf6b-cc9ea3fe5ebb" providerId="ADAL" clId="{3E13B0A1-E91C-4D30-B246-F6A975AF63E4}" dt="2025-06-30T02:03:53.112" v="48" actId="1036"/>
          <ac:cxnSpMkLst>
            <pc:docMk/>
            <pc:sldMk cId="101618977" sldId="2147476258"/>
            <ac:cxnSpMk id="17" creationId="{56F52A88-5BC3-2C1A-D3BB-3B6F8B48667F}"/>
          </ac:cxnSpMkLst>
        </pc:cxnChg>
        <pc:cxnChg chg="mod">
          <ac:chgData name="Tamura, Shuhei" userId="cb61c1b9-acd5-495b-bf6b-cc9ea3fe5ebb" providerId="ADAL" clId="{3E13B0A1-E91C-4D30-B246-F6A975AF63E4}" dt="2025-06-30T02:03:53.112" v="48" actId="1036"/>
          <ac:cxnSpMkLst>
            <pc:docMk/>
            <pc:sldMk cId="101618977" sldId="2147476258"/>
            <ac:cxnSpMk id="21" creationId="{362E92B5-CF51-847B-CD23-65A9BEFA1F7F}"/>
          </ac:cxnSpMkLst>
        </pc:cxnChg>
        <pc:cxnChg chg="mod">
          <ac:chgData name="Tamura, Shuhei" userId="cb61c1b9-acd5-495b-bf6b-cc9ea3fe5ebb" providerId="ADAL" clId="{3E13B0A1-E91C-4D30-B246-F6A975AF63E4}" dt="2025-06-30T02:03:53.112" v="48" actId="1036"/>
          <ac:cxnSpMkLst>
            <pc:docMk/>
            <pc:sldMk cId="101618977" sldId="2147476258"/>
            <ac:cxnSpMk id="39" creationId="{1BD1984F-F8BC-6854-474F-AEB631B72F8D}"/>
          </ac:cxnSpMkLst>
        </pc:cxnChg>
        <pc:cxnChg chg="mod">
          <ac:chgData name="Tamura, Shuhei" userId="cb61c1b9-acd5-495b-bf6b-cc9ea3fe5ebb" providerId="ADAL" clId="{3E13B0A1-E91C-4D30-B246-F6A975AF63E4}" dt="2025-06-30T02:03:53.112" v="48" actId="1036"/>
          <ac:cxnSpMkLst>
            <pc:docMk/>
            <pc:sldMk cId="101618977" sldId="2147476258"/>
            <ac:cxnSpMk id="44" creationId="{C4071498-9474-2300-6081-707D82AB7E71}"/>
          </ac:cxnSpMkLst>
        </pc:cxnChg>
        <pc:cxnChg chg="mod">
          <ac:chgData name="Tamura, Shuhei" userId="cb61c1b9-acd5-495b-bf6b-cc9ea3fe5ebb" providerId="ADAL" clId="{3E13B0A1-E91C-4D30-B246-F6A975AF63E4}" dt="2025-06-30T02:03:53.112" v="48" actId="1036"/>
          <ac:cxnSpMkLst>
            <pc:docMk/>
            <pc:sldMk cId="101618977" sldId="2147476258"/>
            <ac:cxnSpMk id="46" creationId="{55CF8AD7-E60A-3056-2968-7983C7F5C4A1}"/>
          </ac:cxnSpMkLst>
        </pc:cxnChg>
        <pc:cxnChg chg="mod">
          <ac:chgData name="Tamura, Shuhei" userId="cb61c1b9-acd5-495b-bf6b-cc9ea3fe5ebb" providerId="ADAL" clId="{3E13B0A1-E91C-4D30-B246-F6A975AF63E4}" dt="2025-06-30T02:03:53.112" v="48" actId="1036"/>
          <ac:cxnSpMkLst>
            <pc:docMk/>
            <pc:sldMk cId="101618977" sldId="2147476258"/>
            <ac:cxnSpMk id="61" creationId="{C857A298-CF4A-78F5-301D-B1206B829A34}"/>
          </ac:cxnSpMkLst>
        </pc:cxnChg>
      </pc:sldChg>
      <pc:sldChg chg="addSp delSp modSp mod">
        <pc:chgData name="Tamura, Shuhei" userId="cb61c1b9-acd5-495b-bf6b-cc9ea3fe5ebb" providerId="ADAL" clId="{3E13B0A1-E91C-4D30-B246-F6A975AF63E4}" dt="2025-06-30T02:25:10.565" v="643"/>
        <pc:sldMkLst>
          <pc:docMk/>
          <pc:sldMk cId="2667598407" sldId="2147476259"/>
        </pc:sldMkLst>
        <pc:spChg chg="mod">
          <ac:chgData name="Tamura, Shuhei" userId="cb61c1b9-acd5-495b-bf6b-cc9ea3fe5ebb" providerId="ADAL" clId="{3E13B0A1-E91C-4D30-B246-F6A975AF63E4}" dt="2025-06-30T02:04:55.509" v="61"/>
          <ac:spMkLst>
            <pc:docMk/>
            <pc:sldMk cId="2667598407" sldId="2147476259"/>
            <ac:spMk id="4" creationId="{BE23AE77-CEAB-36A7-A61B-D1A32051ACD2}"/>
          </ac:spMkLst>
        </pc:spChg>
        <pc:spChg chg="add del mod">
          <ac:chgData name="Tamura, Shuhei" userId="cb61c1b9-acd5-495b-bf6b-cc9ea3fe5ebb" providerId="ADAL" clId="{3E13B0A1-E91C-4D30-B246-F6A975AF63E4}" dt="2025-06-30T02:25:09.852" v="642" actId="478"/>
          <ac:spMkLst>
            <pc:docMk/>
            <pc:sldMk cId="2667598407" sldId="2147476259"/>
            <ac:spMk id="19" creationId="{711B219F-9160-196E-E37E-905F3C33A527}"/>
          </ac:spMkLst>
        </pc:spChg>
        <pc:spChg chg="add mod">
          <ac:chgData name="Tamura, Shuhei" userId="cb61c1b9-acd5-495b-bf6b-cc9ea3fe5ebb" providerId="ADAL" clId="{3E13B0A1-E91C-4D30-B246-F6A975AF63E4}" dt="2025-06-30T02:25:10.565" v="643"/>
          <ac:spMkLst>
            <pc:docMk/>
            <pc:sldMk cId="2667598407" sldId="2147476259"/>
            <ac:spMk id="21" creationId="{4C1FE197-EDC0-B4BD-4D29-66343F65A73C}"/>
          </ac:spMkLst>
        </pc:spChg>
      </pc:sldChg>
      <pc:sldChg chg="addSp delSp modSp mod">
        <pc:chgData name="Tamura, Shuhei" userId="cb61c1b9-acd5-495b-bf6b-cc9ea3fe5ebb" providerId="ADAL" clId="{3E13B0A1-E91C-4D30-B246-F6A975AF63E4}" dt="2025-06-30T02:25:15.428" v="645"/>
        <pc:sldMkLst>
          <pc:docMk/>
          <pc:sldMk cId="2836140363" sldId="2147476260"/>
        </pc:sldMkLst>
        <pc:spChg chg="mod">
          <ac:chgData name="Tamura, Shuhei" userId="cb61c1b9-acd5-495b-bf6b-cc9ea3fe5ebb" providerId="ADAL" clId="{3E13B0A1-E91C-4D30-B246-F6A975AF63E4}" dt="2025-06-30T02:05:00.846" v="62"/>
          <ac:spMkLst>
            <pc:docMk/>
            <pc:sldMk cId="2836140363" sldId="2147476260"/>
            <ac:spMk id="4" creationId="{BE23AE77-CEAB-36A7-A61B-D1A32051ACD2}"/>
          </ac:spMkLst>
        </pc:spChg>
        <pc:spChg chg="add del mod">
          <ac:chgData name="Tamura, Shuhei" userId="cb61c1b9-acd5-495b-bf6b-cc9ea3fe5ebb" providerId="ADAL" clId="{3E13B0A1-E91C-4D30-B246-F6A975AF63E4}" dt="2025-06-30T02:25:14.770" v="644" actId="478"/>
          <ac:spMkLst>
            <pc:docMk/>
            <pc:sldMk cId="2836140363" sldId="2147476260"/>
            <ac:spMk id="9" creationId="{A77005DA-1B4D-3484-6D58-B1EC0DFB765A}"/>
          </ac:spMkLst>
        </pc:spChg>
        <pc:spChg chg="add mod">
          <ac:chgData name="Tamura, Shuhei" userId="cb61c1b9-acd5-495b-bf6b-cc9ea3fe5ebb" providerId="ADAL" clId="{3E13B0A1-E91C-4D30-B246-F6A975AF63E4}" dt="2025-06-30T02:25:15.428" v="645"/>
          <ac:spMkLst>
            <pc:docMk/>
            <pc:sldMk cId="2836140363" sldId="2147476260"/>
            <ac:spMk id="10" creationId="{E2FCF4C2-C9E5-4EFF-6E0B-4376BA05F9DA}"/>
          </ac:spMkLst>
        </pc:spChg>
      </pc:sldChg>
      <pc:sldChg chg="addSp delSp modSp mod">
        <pc:chgData name="Tamura, Shuhei" userId="cb61c1b9-acd5-495b-bf6b-cc9ea3fe5ebb" providerId="ADAL" clId="{3E13B0A1-E91C-4D30-B246-F6A975AF63E4}" dt="2025-06-30T02:25:24.954" v="647"/>
        <pc:sldMkLst>
          <pc:docMk/>
          <pc:sldMk cId="3293536473" sldId="2147476261"/>
        </pc:sldMkLst>
        <pc:spChg chg="mod">
          <ac:chgData name="Tamura, Shuhei" userId="cb61c1b9-acd5-495b-bf6b-cc9ea3fe5ebb" providerId="ADAL" clId="{3E13B0A1-E91C-4D30-B246-F6A975AF63E4}" dt="2025-06-30T02:05:05.726" v="63"/>
          <ac:spMkLst>
            <pc:docMk/>
            <pc:sldMk cId="3293536473" sldId="2147476261"/>
            <ac:spMk id="4" creationId="{BE23AE77-CEAB-36A7-A61B-D1A32051ACD2}"/>
          </ac:spMkLst>
        </pc:spChg>
        <pc:spChg chg="add del mod">
          <ac:chgData name="Tamura, Shuhei" userId="cb61c1b9-acd5-495b-bf6b-cc9ea3fe5ebb" providerId="ADAL" clId="{3E13B0A1-E91C-4D30-B246-F6A975AF63E4}" dt="2025-06-30T02:25:24.278" v="646" actId="478"/>
          <ac:spMkLst>
            <pc:docMk/>
            <pc:sldMk cId="3293536473" sldId="2147476261"/>
            <ac:spMk id="9" creationId="{76BC15EC-FE96-6539-288C-6C5A6A5C3586}"/>
          </ac:spMkLst>
        </pc:spChg>
        <pc:spChg chg="add mod">
          <ac:chgData name="Tamura, Shuhei" userId="cb61c1b9-acd5-495b-bf6b-cc9ea3fe5ebb" providerId="ADAL" clId="{3E13B0A1-E91C-4D30-B246-F6A975AF63E4}" dt="2025-06-30T02:25:24.954" v="647"/>
          <ac:spMkLst>
            <pc:docMk/>
            <pc:sldMk cId="3293536473" sldId="2147476261"/>
            <ac:spMk id="10" creationId="{A9A40247-83B7-1259-20B4-DEB7B57B1CFC}"/>
          </ac:spMkLst>
        </pc:spChg>
      </pc:sldChg>
      <pc:sldChg chg="addSp delSp modSp mod">
        <pc:chgData name="Tamura, Shuhei" userId="cb61c1b9-acd5-495b-bf6b-cc9ea3fe5ebb" providerId="ADAL" clId="{3E13B0A1-E91C-4D30-B246-F6A975AF63E4}" dt="2025-06-30T02:25:30.233" v="649"/>
        <pc:sldMkLst>
          <pc:docMk/>
          <pc:sldMk cId="3971923513" sldId="2147476262"/>
        </pc:sldMkLst>
        <pc:spChg chg="mod">
          <ac:chgData name="Tamura, Shuhei" userId="cb61c1b9-acd5-495b-bf6b-cc9ea3fe5ebb" providerId="ADAL" clId="{3E13B0A1-E91C-4D30-B246-F6A975AF63E4}" dt="2025-06-30T02:05:10.609" v="64"/>
          <ac:spMkLst>
            <pc:docMk/>
            <pc:sldMk cId="3971923513" sldId="2147476262"/>
            <ac:spMk id="4" creationId="{BE23AE77-CEAB-36A7-A61B-D1A32051ACD2}"/>
          </ac:spMkLst>
        </pc:spChg>
        <pc:spChg chg="add del mod">
          <ac:chgData name="Tamura, Shuhei" userId="cb61c1b9-acd5-495b-bf6b-cc9ea3fe5ebb" providerId="ADAL" clId="{3E13B0A1-E91C-4D30-B246-F6A975AF63E4}" dt="2025-06-30T02:25:29.546" v="648" actId="478"/>
          <ac:spMkLst>
            <pc:docMk/>
            <pc:sldMk cId="3971923513" sldId="2147476262"/>
            <ac:spMk id="23" creationId="{46A94C7B-5B09-DEDE-2007-84568C3C97EC}"/>
          </ac:spMkLst>
        </pc:spChg>
        <pc:spChg chg="add mod">
          <ac:chgData name="Tamura, Shuhei" userId="cb61c1b9-acd5-495b-bf6b-cc9ea3fe5ebb" providerId="ADAL" clId="{3E13B0A1-E91C-4D30-B246-F6A975AF63E4}" dt="2025-06-30T02:25:30.233" v="649"/>
          <ac:spMkLst>
            <pc:docMk/>
            <pc:sldMk cId="3971923513" sldId="2147476262"/>
            <ac:spMk id="25" creationId="{1661E248-4978-3966-0647-72947EC28DF2}"/>
          </ac:spMkLst>
        </pc:spChg>
      </pc:sldChg>
      <pc:sldChg chg="addSp delSp modSp mod">
        <pc:chgData name="Tamura, Shuhei" userId="cb61c1b9-acd5-495b-bf6b-cc9ea3fe5ebb" providerId="ADAL" clId="{3E13B0A1-E91C-4D30-B246-F6A975AF63E4}" dt="2025-06-30T02:25:35.053" v="651"/>
        <pc:sldMkLst>
          <pc:docMk/>
          <pc:sldMk cId="3497228410" sldId="2147476263"/>
        </pc:sldMkLst>
        <pc:spChg chg="add del mod">
          <ac:chgData name="Tamura, Shuhei" userId="cb61c1b9-acd5-495b-bf6b-cc9ea3fe5ebb" providerId="ADAL" clId="{3E13B0A1-E91C-4D30-B246-F6A975AF63E4}" dt="2025-06-30T02:25:34.487" v="650" actId="478"/>
          <ac:spMkLst>
            <pc:docMk/>
            <pc:sldMk cId="3497228410" sldId="2147476263"/>
            <ac:spMk id="3" creationId="{FA68A688-D964-EB22-ECB7-9CB5149792F4}"/>
          </ac:spMkLst>
        </pc:spChg>
        <pc:spChg chg="mod">
          <ac:chgData name="Tamura, Shuhei" userId="cb61c1b9-acd5-495b-bf6b-cc9ea3fe5ebb" providerId="ADAL" clId="{3E13B0A1-E91C-4D30-B246-F6A975AF63E4}" dt="2025-06-30T02:05:17.219" v="65"/>
          <ac:spMkLst>
            <pc:docMk/>
            <pc:sldMk cId="3497228410" sldId="2147476263"/>
            <ac:spMk id="4" creationId="{BE23AE77-CEAB-36A7-A61B-D1A32051ACD2}"/>
          </ac:spMkLst>
        </pc:spChg>
        <pc:spChg chg="add mod">
          <ac:chgData name="Tamura, Shuhei" userId="cb61c1b9-acd5-495b-bf6b-cc9ea3fe5ebb" providerId="ADAL" clId="{3E13B0A1-E91C-4D30-B246-F6A975AF63E4}" dt="2025-06-30T02:25:35.053" v="651"/>
          <ac:spMkLst>
            <pc:docMk/>
            <pc:sldMk cId="3497228410" sldId="2147476263"/>
            <ac:spMk id="7" creationId="{666F078F-C383-93C6-1ACC-3DD6C2EA2D55}"/>
          </ac:spMkLst>
        </pc:spChg>
      </pc:sldChg>
      <pc:sldChg chg="addSp delSp modSp mod">
        <pc:chgData name="Tamura, Shuhei" userId="cb61c1b9-acd5-495b-bf6b-cc9ea3fe5ebb" providerId="ADAL" clId="{3E13B0A1-E91C-4D30-B246-F6A975AF63E4}" dt="2025-06-30T02:25:44.258" v="653"/>
        <pc:sldMkLst>
          <pc:docMk/>
          <pc:sldMk cId="3687552412" sldId="2147476264"/>
        </pc:sldMkLst>
        <pc:spChg chg="add del mod">
          <ac:chgData name="Tamura, Shuhei" userId="cb61c1b9-acd5-495b-bf6b-cc9ea3fe5ebb" providerId="ADAL" clId="{3E13B0A1-E91C-4D30-B246-F6A975AF63E4}" dt="2025-06-30T02:25:43.591" v="652" actId="478"/>
          <ac:spMkLst>
            <pc:docMk/>
            <pc:sldMk cId="3687552412" sldId="2147476264"/>
            <ac:spMk id="3" creationId="{FDC33197-235F-08FD-4379-748C08292274}"/>
          </ac:spMkLst>
        </pc:spChg>
        <pc:spChg chg="mod">
          <ac:chgData name="Tamura, Shuhei" userId="cb61c1b9-acd5-495b-bf6b-cc9ea3fe5ebb" providerId="ADAL" clId="{3E13B0A1-E91C-4D30-B246-F6A975AF63E4}" dt="2025-06-30T02:05:20.629" v="66"/>
          <ac:spMkLst>
            <pc:docMk/>
            <pc:sldMk cId="3687552412" sldId="2147476264"/>
            <ac:spMk id="4" creationId="{BE23AE77-CEAB-36A7-A61B-D1A32051ACD2}"/>
          </ac:spMkLst>
        </pc:spChg>
        <pc:spChg chg="add mod">
          <ac:chgData name="Tamura, Shuhei" userId="cb61c1b9-acd5-495b-bf6b-cc9ea3fe5ebb" providerId="ADAL" clId="{3E13B0A1-E91C-4D30-B246-F6A975AF63E4}" dt="2025-06-30T02:25:44.258" v="653"/>
          <ac:spMkLst>
            <pc:docMk/>
            <pc:sldMk cId="3687552412" sldId="2147476264"/>
            <ac:spMk id="10" creationId="{207B63E7-8786-2BA7-74A9-494F9F0D953E}"/>
          </ac:spMkLst>
        </pc:spChg>
      </pc:sldChg>
      <pc:sldChg chg="addSp delSp modSp mod">
        <pc:chgData name="Tamura, Shuhei" userId="cb61c1b9-acd5-495b-bf6b-cc9ea3fe5ebb" providerId="ADAL" clId="{3E13B0A1-E91C-4D30-B246-F6A975AF63E4}" dt="2025-06-30T02:25:47.943" v="655"/>
        <pc:sldMkLst>
          <pc:docMk/>
          <pc:sldMk cId="1642234751" sldId="2147476265"/>
        </pc:sldMkLst>
        <pc:spChg chg="mod">
          <ac:chgData name="Tamura, Shuhei" userId="cb61c1b9-acd5-495b-bf6b-cc9ea3fe5ebb" providerId="ADAL" clId="{3E13B0A1-E91C-4D30-B246-F6A975AF63E4}" dt="2025-06-30T02:05:24.869" v="67"/>
          <ac:spMkLst>
            <pc:docMk/>
            <pc:sldMk cId="1642234751" sldId="2147476265"/>
            <ac:spMk id="4" creationId="{BE23AE77-CEAB-36A7-A61B-D1A32051ACD2}"/>
          </ac:spMkLst>
        </pc:spChg>
        <pc:spChg chg="add del mod">
          <ac:chgData name="Tamura, Shuhei" userId="cb61c1b9-acd5-495b-bf6b-cc9ea3fe5ebb" providerId="ADAL" clId="{3E13B0A1-E91C-4D30-B246-F6A975AF63E4}" dt="2025-06-30T02:25:47.267" v="654" actId="478"/>
          <ac:spMkLst>
            <pc:docMk/>
            <pc:sldMk cId="1642234751" sldId="2147476265"/>
            <ac:spMk id="9" creationId="{21674C5C-4E05-7BF0-9ECB-33C9D776EB65}"/>
          </ac:spMkLst>
        </pc:spChg>
        <pc:spChg chg="add mod">
          <ac:chgData name="Tamura, Shuhei" userId="cb61c1b9-acd5-495b-bf6b-cc9ea3fe5ebb" providerId="ADAL" clId="{3E13B0A1-E91C-4D30-B246-F6A975AF63E4}" dt="2025-06-30T02:25:47.943" v="655"/>
          <ac:spMkLst>
            <pc:docMk/>
            <pc:sldMk cId="1642234751" sldId="2147476265"/>
            <ac:spMk id="10" creationId="{0D4DFB03-3533-5923-148A-D585371E1192}"/>
          </ac:spMkLst>
        </pc:spChg>
      </pc:sldChg>
      <pc:sldChg chg="addSp delSp modSp mod">
        <pc:chgData name="Tamura, Shuhei" userId="cb61c1b9-acd5-495b-bf6b-cc9ea3fe5ebb" providerId="ADAL" clId="{3E13B0A1-E91C-4D30-B246-F6A975AF63E4}" dt="2025-06-30T02:25:52.123" v="657"/>
        <pc:sldMkLst>
          <pc:docMk/>
          <pc:sldMk cId="3734469208" sldId="2147476266"/>
        </pc:sldMkLst>
        <pc:spChg chg="mod">
          <ac:chgData name="Tamura, Shuhei" userId="cb61c1b9-acd5-495b-bf6b-cc9ea3fe5ebb" providerId="ADAL" clId="{3E13B0A1-E91C-4D30-B246-F6A975AF63E4}" dt="2025-06-30T02:05:31.451" v="68"/>
          <ac:spMkLst>
            <pc:docMk/>
            <pc:sldMk cId="3734469208" sldId="2147476266"/>
            <ac:spMk id="4" creationId="{BE23AE77-CEAB-36A7-A61B-D1A32051ACD2}"/>
          </ac:spMkLst>
        </pc:spChg>
        <pc:spChg chg="add del mod">
          <ac:chgData name="Tamura, Shuhei" userId="cb61c1b9-acd5-495b-bf6b-cc9ea3fe5ebb" providerId="ADAL" clId="{3E13B0A1-E91C-4D30-B246-F6A975AF63E4}" dt="2025-06-30T02:25:51.022" v="656" actId="478"/>
          <ac:spMkLst>
            <pc:docMk/>
            <pc:sldMk cId="3734469208" sldId="2147476266"/>
            <ac:spMk id="7" creationId="{DA235B4D-0371-8167-587A-C201583BE505}"/>
          </ac:spMkLst>
        </pc:spChg>
        <pc:spChg chg="add mod">
          <ac:chgData name="Tamura, Shuhei" userId="cb61c1b9-acd5-495b-bf6b-cc9ea3fe5ebb" providerId="ADAL" clId="{3E13B0A1-E91C-4D30-B246-F6A975AF63E4}" dt="2025-06-30T02:25:52.123" v="657"/>
          <ac:spMkLst>
            <pc:docMk/>
            <pc:sldMk cId="3734469208" sldId="2147476266"/>
            <ac:spMk id="11" creationId="{C6D5388C-4C69-DCB8-0FF1-EE8162C08CD7}"/>
          </ac:spMkLst>
        </pc:spChg>
      </pc:sldChg>
      <pc:sldChg chg="addSp delSp modSp mod">
        <pc:chgData name="Tamura, Shuhei" userId="cb61c1b9-acd5-495b-bf6b-cc9ea3fe5ebb" providerId="ADAL" clId="{3E13B0A1-E91C-4D30-B246-F6A975AF63E4}" dt="2025-06-30T02:25:56.804" v="659"/>
        <pc:sldMkLst>
          <pc:docMk/>
          <pc:sldMk cId="2641857341" sldId="2147476267"/>
        </pc:sldMkLst>
        <pc:spChg chg="mod">
          <ac:chgData name="Tamura, Shuhei" userId="cb61c1b9-acd5-495b-bf6b-cc9ea3fe5ebb" providerId="ADAL" clId="{3E13B0A1-E91C-4D30-B246-F6A975AF63E4}" dt="2025-06-30T02:05:35.161" v="69"/>
          <ac:spMkLst>
            <pc:docMk/>
            <pc:sldMk cId="2641857341" sldId="2147476267"/>
            <ac:spMk id="4" creationId="{BE23AE77-CEAB-36A7-A61B-D1A32051ACD2}"/>
          </ac:spMkLst>
        </pc:spChg>
        <pc:spChg chg="add del mod">
          <ac:chgData name="Tamura, Shuhei" userId="cb61c1b9-acd5-495b-bf6b-cc9ea3fe5ebb" providerId="ADAL" clId="{3E13B0A1-E91C-4D30-B246-F6A975AF63E4}" dt="2025-06-30T02:25:56.098" v="658" actId="478"/>
          <ac:spMkLst>
            <pc:docMk/>
            <pc:sldMk cId="2641857341" sldId="2147476267"/>
            <ac:spMk id="11" creationId="{22F06CD1-F3A6-DBE5-6FBF-B031E58092EC}"/>
          </ac:spMkLst>
        </pc:spChg>
        <pc:spChg chg="add mod">
          <ac:chgData name="Tamura, Shuhei" userId="cb61c1b9-acd5-495b-bf6b-cc9ea3fe5ebb" providerId="ADAL" clId="{3E13B0A1-E91C-4D30-B246-F6A975AF63E4}" dt="2025-06-30T02:25:56.804" v="659"/>
          <ac:spMkLst>
            <pc:docMk/>
            <pc:sldMk cId="2641857341" sldId="2147476267"/>
            <ac:spMk id="22" creationId="{2D614361-58BB-E444-100A-C01BA458D588}"/>
          </ac:spMkLst>
        </pc:spChg>
      </pc:sldChg>
      <pc:sldChg chg="addSp delSp modSp mod">
        <pc:chgData name="Tamura, Shuhei" userId="cb61c1b9-acd5-495b-bf6b-cc9ea3fe5ebb" providerId="ADAL" clId="{3E13B0A1-E91C-4D30-B246-F6A975AF63E4}" dt="2025-06-30T02:28:31.611" v="663" actId="1036"/>
        <pc:sldMkLst>
          <pc:docMk/>
          <pc:sldMk cId="784019195" sldId="2147476268"/>
        </pc:sldMkLst>
        <pc:spChg chg="add del mod">
          <ac:chgData name="Tamura, Shuhei" userId="cb61c1b9-acd5-495b-bf6b-cc9ea3fe5ebb" providerId="ADAL" clId="{3E13B0A1-E91C-4D30-B246-F6A975AF63E4}" dt="2025-06-30T02:26:01.346" v="660" actId="478"/>
          <ac:spMkLst>
            <pc:docMk/>
            <pc:sldMk cId="784019195" sldId="2147476268"/>
            <ac:spMk id="2" creationId="{764BB7CF-F0FB-4AA1-0DA8-601D19E60D45}"/>
          </ac:spMkLst>
        </pc:spChg>
        <pc:spChg chg="add mod">
          <ac:chgData name="Tamura, Shuhei" userId="cb61c1b9-acd5-495b-bf6b-cc9ea3fe5ebb" providerId="ADAL" clId="{3E13B0A1-E91C-4D30-B246-F6A975AF63E4}" dt="2025-06-30T02:28:31.611" v="663" actId="1036"/>
          <ac:spMkLst>
            <pc:docMk/>
            <pc:sldMk cId="784019195" sldId="2147476268"/>
            <ac:spMk id="3" creationId="{DAB080E1-625B-50A1-4BC3-8B3619106C49}"/>
          </ac:spMkLst>
        </pc:spChg>
        <pc:spChg chg="mod">
          <ac:chgData name="Tamura, Shuhei" userId="cb61c1b9-acd5-495b-bf6b-cc9ea3fe5ebb" providerId="ADAL" clId="{3E13B0A1-E91C-4D30-B246-F6A975AF63E4}" dt="2025-06-30T02:05:39.559" v="70"/>
          <ac:spMkLst>
            <pc:docMk/>
            <pc:sldMk cId="784019195" sldId="2147476268"/>
            <ac:spMk id="4" creationId="{BE23AE77-CEAB-36A7-A61B-D1A32051ACD2}"/>
          </ac:spMkLst>
        </pc:spChg>
      </pc:sldChg>
      <pc:sldChg chg="modSp mod">
        <pc:chgData name="Tamura, Shuhei" userId="cb61c1b9-acd5-495b-bf6b-cc9ea3fe5ebb" providerId="ADAL" clId="{3E13B0A1-E91C-4D30-B246-F6A975AF63E4}" dt="2025-06-30T02:23:44.035" v="594" actId="255"/>
        <pc:sldMkLst>
          <pc:docMk/>
          <pc:sldMk cId="1362544405" sldId="2147476269"/>
        </pc:sldMkLst>
        <pc:spChg chg="mod">
          <ac:chgData name="Tamura, Shuhei" userId="cb61c1b9-acd5-495b-bf6b-cc9ea3fe5ebb" providerId="ADAL" clId="{3E13B0A1-E91C-4D30-B246-F6A975AF63E4}" dt="2025-06-30T02:01:23.531" v="28" actId="20577"/>
          <ac:spMkLst>
            <pc:docMk/>
            <pc:sldMk cId="1362544405" sldId="2147476269"/>
            <ac:spMk id="4" creationId="{599FFCD3-4840-7D8A-EC3F-3642D5887971}"/>
          </ac:spMkLst>
        </pc:spChg>
        <pc:spChg chg="mod">
          <ac:chgData name="Tamura, Shuhei" userId="cb61c1b9-acd5-495b-bf6b-cc9ea3fe5ebb" providerId="ADAL" clId="{3E13B0A1-E91C-4D30-B246-F6A975AF63E4}" dt="2025-06-30T02:23:44.035" v="594" actId="255"/>
          <ac:spMkLst>
            <pc:docMk/>
            <pc:sldMk cId="1362544405" sldId="2147476269"/>
            <ac:spMk id="10" creationId="{63BB9C2C-DCF6-C3B2-75F2-A145BE2371C9}"/>
          </ac:spMkLst>
        </pc:spChg>
      </pc:sldChg>
      <pc:sldChg chg="addSp modSp mod">
        <pc:chgData name="Tamura, Shuhei" userId="cb61c1b9-acd5-495b-bf6b-cc9ea3fe5ebb" providerId="ADAL" clId="{3E13B0A1-E91C-4D30-B246-F6A975AF63E4}" dt="2025-06-30T02:29:19.162" v="670" actId="27636"/>
        <pc:sldMkLst>
          <pc:docMk/>
          <pc:sldMk cId="3417380775" sldId="2147476270"/>
        </pc:sldMkLst>
        <pc:spChg chg="add mod">
          <ac:chgData name="Tamura, Shuhei" userId="cb61c1b9-acd5-495b-bf6b-cc9ea3fe5ebb" providerId="ADAL" clId="{3E13B0A1-E91C-4D30-B246-F6A975AF63E4}" dt="2025-06-30T02:16:21.056" v="192"/>
          <ac:spMkLst>
            <pc:docMk/>
            <pc:sldMk cId="3417380775" sldId="2147476270"/>
            <ac:spMk id="2" creationId="{093F42B7-2048-6DEF-E1CF-593F1449AD0A}"/>
          </ac:spMkLst>
        </pc:spChg>
        <pc:spChg chg="mod">
          <ac:chgData name="Tamura, Shuhei" userId="cb61c1b9-acd5-495b-bf6b-cc9ea3fe5ebb" providerId="ADAL" clId="{3E13B0A1-E91C-4D30-B246-F6A975AF63E4}" dt="2025-06-30T02:08:11.733" v="75" actId="20577"/>
          <ac:spMkLst>
            <pc:docMk/>
            <pc:sldMk cId="3417380775" sldId="2147476270"/>
            <ac:spMk id="4" creationId="{C0CD4ED1-0F74-83B6-F4AC-8C87103B97BF}"/>
          </ac:spMkLst>
        </pc:spChg>
        <pc:spChg chg="add mod">
          <ac:chgData name="Tamura, Shuhei" userId="cb61c1b9-acd5-495b-bf6b-cc9ea3fe5ebb" providerId="ADAL" clId="{3E13B0A1-E91C-4D30-B246-F6A975AF63E4}" dt="2025-06-30T02:29:19.162" v="670" actId="27636"/>
          <ac:spMkLst>
            <pc:docMk/>
            <pc:sldMk cId="3417380775" sldId="2147476270"/>
            <ac:spMk id="5" creationId="{0383ADF8-D4D5-4223-2D06-3870C548F23A}"/>
          </ac:spMkLst>
        </pc:spChg>
        <pc:spChg chg="add mod">
          <ac:chgData name="Tamura, Shuhei" userId="cb61c1b9-acd5-495b-bf6b-cc9ea3fe5ebb" providerId="ADAL" clId="{3E13B0A1-E91C-4D30-B246-F6A975AF63E4}" dt="2025-06-30T02:28:35.166" v="664"/>
          <ac:spMkLst>
            <pc:docMk/>
            <pc:sldMk cId="3417380775" sldId="2147476270"/>
            <ac:spMk id="6" creationId="{322D95F6-C150-940C-08C1-D73FF6ED6EFC}"/>
          </ac:spMkLst>
        </pc:spChg>
        <pc:spChg chg="mod">
          <ac:chgData name="Tamura, Shuhei" userId="cb61c1b9-acd5-495b-bf6b-cc9ea3fe5ebb" providerId="ADAL" clId="{3E13B0A1-E91C-4D30-B246-F6A975AF63E4}" dt="2025-06-30T02:16:28.190" v="218" actId="1035"/>
          <ac:spMkLst>
            <pc:docMk/>
            <pc:sldMk cId="3417380775" sldId="2147476270"/>
            <ac:spMk id="9" creationId="{7FAB7FED-86C0-349A-32E6-486F205BB8B9}"/>
          </ac:spMkLst>
        </pc:spChg>
      </pc:sldChg>
      <pc:sldChg chg="addSp delSp modSp mod">
        <pc:chgData name="Tamura, Shuhei" userId="cb61c1b9-acd5-495b-bf6b-cc9ea3fe5ebb" providerId="ADAL" clId="{3E13B0A1-E91C-4D30-B246-F6A975AF63E4}" dt="2025-06-30T02:29:52.971" v="680" actId="27636"/>
        <pc:sldMkLst>
          <pc:docMk/>
          <pc:sldMk cId="4265059628" sldId="2147476271"/>
        </pc:sldMkLst>
        <pc:spChg chg="add mod">
          <ac:chgData name="Tamura, Shuhei" userId="cb61c1b9-acd5-495b-bf6b-cc9ea3fe5ebb" providerId="ADAL" clId="{3E13B0A1-E91C-4D30-B246-F6A975AF63E4}" dt="2025-06-30T02:20:22.006" v="512"/>
          <ac:spMkLst>
            <pc:docMk/>
            <pc:sldMk cId="4265059628" sldId="2147476271"/>
            <ac:spMk id="2" creationId="{5AD5FEEA-0FC6-DEB8-E8A5-608250258016}"/>
          </ac:spMkLst>
        </pc:spChg>
        <pc:spChg chg="mod">
          <ac:chgData name="Tamura, Shuhei" userId="cb61c1b9-acd5-495b-bf6b-cc9ea3fe5ebb" providerId="ADAL" clId="{3E13B0A1-E91C-4D30-B246-F6A975AF63E4}" dt="2025-06-30T02:11:46.780" v="167"/>
          <ac:spMkLst>
            <pc:docMk/>
            <pc:sldMk cId="4265059628" sldId="2147476271"/>
            <ac:spMk id="4" creationId="{C0CD4ED1-0F74-83B6-F4AC-8C87103B97BF}"/>
          </ac:spMkLst>
        </pc:spChg>
        <pc:spChg chg="add mod">
          <ac:chgData name="Tamura, Shuhei" userId="cb61c1b9-acd5-495b-bf6b-cc9ea3fe5ebb" providerId="ADAL" clId="{3E13B0A1-E91C-4D30-B246-F6A975AF63E4}" dt="2025-06-30T02:29:52.971" v="680" actId="27636"/>
          <ac:spMkLst>
            <pc:docMk/>
            <pc:sldMk cId="4265059628" sldId="2147476271"/>
            <ac:spMk id="5" creationId="{9DA1D7C2-1422-0A3D-BBD7-85EBAC4A60E4}"/>
          </ac:spMkLst>
        </pc:spChg>
        <pc:spChg chg="del mod">
          <ac:chgData name="Tamura, Shuhei" userId="cb61c1b9-acd5-495b-bf6b-cc9ea3fe5ebb" providerId="ADAL" clId="{3E13B0A1-E91C-4D30-B246-F6A975AF63E4}" dt="2025-06-30T02:20:11.455" v="509" actId="478"/>
          <ac:spMkLst>
            <pc:docMk/>
            <pc:sldMk cId="4265059628" sldId="2147476271"/>
            <ac:spMk id="9" creationId="{7FAB7FED-86C0-349A-32E6-486F205BB8B9}"/>
          </ac:spMkLst>
        </pc:spChg>
      </pc:sldChg>
      <pc:sldChg chg="addSp delSp modSp del mod">
        <pc:chgData name="Tamura, Shuhei" userId="cb61c1b9-acd5-495b-bf6b-cc9ea3fe5ebb" providerId="ADAL" clId="{3E13B0A1-E91C-4D30-B246-F6A975AF63E4}" dt="2025-06-30T02:21:45.202" v="570" actId="2696"/>
        <pc:sldMkLst>
          <pc:docMk/>
          <pc:sldMk cId="1045415872" sldId="2147476272"/>
        </pc:sldMkLst>
        <pc:spChg chg="add mod">
          <ac:chgData name="Tamura, Shuhei" userId="cb61c1b9-acd5-495b-bf6b-cc9ea3fe5ebb" providerId="ADAL" clId="{3E13B0A1-E91C-4D30-B246-F6A975AF63E4}" dt="2025-06-30T02:20:52.284" v="567"/>
          <ac:spMkLst>
            <pc:docMk/>
            <pc:sldMk cId="1045415872" sldId="2147476272"/>
            <ac:spMk id="2" creationId="{318DE856-B4CF-DA51-CF6C-9D662C28CCB5}"/>
          </ac:spMkLst>
        </pc:spChg>
        <pc:spChg chg="mod">
          <ac:chgData name="Tamura, Shuhei" userId="cb61c1b9-acd5-495b-bf6b-cc9ea3fe5ebb" providerId="ADAL" clId="{3E13B0A1-E91C-4D30-B246-F6A975AF63E4}" dt="2025-06-30T02:11:51.735" v="168"/>
          <ac:spMkLst>
            <pc:docMk/>
            <pc:sldMk cId="1045415872" sldId="2147476272"/>
            <ac:spMk id="4" creationId="{C0CD4ED1-0F74-83B6-F4AC-8C87103B97BF}"/>
          </ac:spMkLst>
        </pc:spChg>
        <pc:spChg chg="add mod">
          <ac:chgData name="Tamura, Shuhei" userId="cb61c1b9-acd5-495b-bf6b-cc9ea3fe5ebb" providerId="ADAL" clId="{3E13B0A1-E91C-4D30-B246-F6A975AF63E4}" dt="2025-06-30T02:20:55.066" v="569" actId="20577"/>
          <ac:spMkLst>
            <pc:docMk/>
            <pc:sldMk cId="1045415872" sldId="2147476272"/>
            <ac:spMk id="5" creationId="{4D1B09F5-C084-0D8C-10AD-4271F3BC2B3B}"/>
          </ac:spMkLst>
        </pc:spChg>
        <pc:spChg chg="del mod">
          <ac:chgData name="Tamura, Shuhei" userId="cb61c1b9-acd5-495b-bf6b-cc9ea3fe5ebb" providerId="ADAL" clId="{3E13B0A1-E91C-4D30-B246-F6A975AF63E4}" dt="2025-06-30T02:20:51.594" v="566" actId="478"/>
          <ac:spMkLst>
            <pc:docMk/>
            <pc:sldMk cId="1045415872" sldId="2147476272"/>
            <ac:spMk id="9" creationId="{7FAB7FED-86C0-349A-32E6-486F205BB8B9}"/>
          </ac:spMkLst>
        </pc:spChg>
      </pc:sldChg>
      <pc:sldChg chg="modSp mod">
        <pc:chgData name="Tamura, Shuhei" userId="cb61c1b9-acd5-495b-bf6b-cc9ea3fe5ebb" providerId="ADAL" clId="{3E13B0A1-E91C-4D30-B246-F6A975AF63E4}" dt="2025-06-30T02:46:02.468" v="811" actId="20577"/>
        <pc:sldMkLst>
          <pc:docMk/>
          <pc:sldMk cId="1036007183" sldId="2147476273"/>
        </pc:sldMkLst>
        <pc:spChg chg="mod">
          <ac:chgData name="Tamura, Shuhei" userId="cb61c1b9-acd5-495b-bf6b-cc9ea3fe5ebb" providerId="ADAL" clId="{3E13B0A1-E91C-4D30-B246-F6A975AF63E4}" dt="2025-06-30T02:46:02.468" v="811" actId="20577"/>
          <ac:spMkLst>
            <pc:docMk/>
            <pc:sldMk cId="1036007183" sldId="2147476273"/>
            <ac:spMk id="3" creationId="{1E34451F-92DA-79B3-D1F0-D2B52A45005B}"/>
          </ac:spMkLst>
        </pc:spChg>
        <pc:spChg chg="mod">
          <ac:chgData name="Tamura, Shuhei" userId="cb61c1b9-acd5-495b-bf6b-cc9ea3fe5ebb" providerId="ADAL" clId="{3E13B0A1-E91C-4D30-B246-F6A975AF63E4}" dt="2025-06-30T02:13:50.308" v="179"/>
          <ac:spMkLst>
            <pc:docMk/>
            <pc:sldMk cId="1036007183" sldId="2147476273"/>
            <ac:spMk id="4" creationId="{20240A8E-9B73-AE5A-5D61-C7E42CFDAB6C}"/>
          </ac:spMkLst>
        </pc:spChg>
      </pc:sldChg>
      <pc:sldChg chg="addSp delSp modSp mod">
        <pc:chgData name="Tamura, Shuhei" userId="cb61c1b9-acd5-495b-bf6b-cc9ea3fe5ebb" providerId="ADAL" clId="{3E13B0A1-E91C-4D30-B246-F6A975AF63E4}" dt="2025-06-30T02:29:37.584" v="674" actId="27636"/>
        <pc:sldMkLst>
          <pc:docMk/>
          <pc:sldMk cId="981236981" sldId="2147476274"/>
        </pc:sldMkLst>
        <pc:spChg chg="add mod">
          <ac:chgData name="Tamura, Shuhei" userId="cb61c1b9-acd5-495b-bf6b-cc9ea3fe5ebb" providerId="ADAL" clId="{3E13B0A1-E91C-4D30-B246-F6A975AF63E4}" dt="2025-06-30T02:29:37.584" v="674" actId="27636"/>
          <ac:spMkLst>
            <pc:docMk/>
            <pc:sldMk cId="981236981" sldId="2147476274"/>
            <ac:spMk id="3" creationId="{251B3422-0C83-F0E0-CEB5-1398EC9D9C0C}"/>
          </ac:spMkLst>
        </pc:spChg>
        <pc:spChg chg="mod">
          <ac:chgData name="Tamura, Shuhei" userId="cb61c1b9-acd5-495b-bf6b-cc9ea3fe5ebb" providerId="ADAL" clId="{3E13B0A1-E91C-4D30-B246-F6A975AF63E4}" dt="2025-06-30T02:11:39.143" v="165"/>
          <ac:spMkLst>
            <pc:docMk/>
            <pc:sldMk cId="981236981" sldId="2147476274"/>
            <ac:spMk id="4" creationId="{C0CD4ED1-0F74-83B6-F4AC-8C87103B97BF}"/>
          </ac:spMkLst>
        </pc:spChg>
        <pc:spChg chg="del mod">
          <ac:chgData name="Tamura, Shuhei" userId="cb61c1b9-acd5-495b-bf6b-cc9ea3fe5ebb" providerId="ADAL" clId="{3E13B0A1-E91C-4D30-B246-F6A975AF63E4}" dt="2025-06-30T02:17:34.910" v="294" actId="478"/>
          <ac:spMkLst>
            <pc:docMk/>
            <pc:sldMk cId="981236981" sldId="2147476274"/>
            <ac:spMk id="9" creationId="{7FAB7FED-86C0-349A-32E6-486F205BB8B9}"/>
          </ac:spMkLst>
        </pc:spChg>
      </pc:sldChg>
      <pc:sldChg chg="modSp add mod">
        <pc:chgData name="Tamura, Shuhei" userId="cb61c1b9-acd5-495b-bf6b-cc9ea3fe5ebb" providerId="ADAL" clId="{3E13B0A1-E91C-4D30-B246-F6A975AF63E4}" dt="2025-06-30T02:29:43.796" v="676" actId="27636"/>
        <pc:sldMkLst>
          <pc:docMk/>
          <pc:sldMk cId="1652214018" sldId="2147476275"/>
        </pc:sldMkLst>
        <pc:spChg chg="mod">
          <ac:chgData name="Tamura, Shuhei" userId="cb61c1b9-acd5-495b-bf6b-cc9ea3fe5ebb" providerId="ADAL" clId="{3E13B0A1-E91C-4D30-B246-F6A975AF63E4}" dt="2025-06-30T02:29:43.796" v="676" actId="27636"/>
          <ac:spMkLst>
            <pc:docMk/>
            <pc:sldMk cId="1652214018" sldId="2147476275"/>
            <ac:spMk id="3" creationId="{251B3422-0C83-F0E0-CEB5-1398EC9D9C0C}"/>
          </ac:spMkLst>
        </pc:spChg>
      </pc:sldChg>
    </pc:docChg>
  </pc:docChgLst>
  <pc:docChgLst>
    <pc:chgData name="iimura jinichi/0526101/飯村　仁一" userId="c59d907f-9f79-4eb0-8b85-ab928fb3160e" providerId="ADAL" clId="{2BECFFD4-1741-4FD4-89CB-6F824F311E83}"/>
    <pc:docChg chg="custSel modSld">
      <pc:chgData name="iimura jinichi/0526101/飯村　仁一" userId="c59d907f-9f79-4eb0-8b85-ab928fb3160e" providerId="ADAL" clId="{2BECFFD4-1741-4FD4-89CB-6F824F311E83}" dt="2025-07-11T09:07:23.788" v="14" actId="167"/>
      <pc:docMkLst>
        <pc:docMk/>
      </pc:docMkLst>
      <pc:sldChg chg="modSp mod">
        <pc:chgData name="iimura jinichi/0526101/飯村　仁一" userId="c59d907f-9f79-4eb0-8b85-ab928fb3160e" providerId="ADAL" clId="{2BECFFD4-1741-4FD4-89CB-6F824F311E83}" dt="2025-07-07T05:54:06.245" v="4" actId="404"/>
        <pc:sldMkLst>
          <pc:docMk/>
          <pc:sldMk cId="714483222" sldId="2147476251"/>
        </pc:sldMkLst>
        <pc:spChg chg="mod">
          <ac:chgData name="iimura jinichi/0526101/飯村　仁一" userId="c59d907f-9f79-4eb0-8b85-ab928fb3160e" providerId="ADAL" clId="{2BECFFD4-1741-4FD4-89CB-6F824F311E83}" dt="2025-07-07T05:54:06.245" v="4" actId="404"/>
          <ac:spMkLst>
            <pc:docMk/>
            <pc:sldMk cId="714483222" sldId="2147476251"/>
            <ac:spMk id="5" creationId="{CA9AD951-AB0A-F544-7224-4DC94CDD3179}"/>
          </ac:spMkLst>
        </pc:spChg>
      </pc:sldChg>
      <pc:sldChg chg="addSp delSp modSp mod">
        <pc:chgData name="iimura jinichi/0526101/飯村　仁一" userId="c59d907f-9f79-4eb0-8b85-ab928fb3160e" providerId="ADAL" clId="{2BECFFD4-1741-4FD4-89CB-6F824F311E83}" dt="2025-07-11T09:06:59.980" v="11" actId="167"/>
        <pc:sldMkLst>
          <pc:docMk/>
          <pc:sldMk cId="675257603" sldId="2147476257"/>
        </pc:sldMkLst>
        <pc:graphicFrameChg chg="del">
          <ac:chgData name="iimura jinichi/0526101/飯村　仁一" userId="c59d907f-9f79-4eb0-8b85-ab928fb3160e" providerId="ADAL" clId="{2BECFFD4-1741-4FD4-89CB-6F824F311E83}" dt="2025-07-11T09:06:46.948" v="9" actId="478"/>
          <ac:graphicFrameMkLst>
            <pc:docMk/>
            <pc:sldMk cId="675257603" sldId="2147476257"/>
            <ac:graphicFrameMk id="6" creationId="{CA8E2A68-9716-173E-515E-C9C3A14F91D1}"/>
          </ac:graphicFrameMkLst>
        </pc:graphicFrameChg>
        <pc:graphicFrameChg chg="add mod ord">
          <ac:chgData name="iimura jinichi/0526101/飯村　仁一" userId="c59d907f-9f79-4eb0-8b85-ab928fb3160e" providerId="ADAL" clId="{2BECFFD4-1741-4FD4-89CB-6F824F311E83}" dt="2025-07-11T09:06:59.980" v="11" actId="167"/>
          <ac:graphicFrameMkLst>
            <pc:docMk/>
            <pc:sldMk cId="675257603" sldId="2147476257"/>
            <ac:graphicFrameMk id="17" creationId="{335D9AEC-0386-9468-61BA-BB4C50706B89}"/>
          </ac:graphicFrameMkLst>
        </pc:graphicFrameChg>
      </pc:sldChg>
      <pc:sldChg chg="addSp delSp modSp mod">
        <pc:chgData name="iimura jinichi/0526101/飯村　仁一" userId="c59d907f-9f79-4eb0-8b85-ab928fb3160e" providerId="ADAL" clId="{2BECFFD4-1741-4FD4-89CB-6F824F311E83}" dt="2025-07-11T09:07:23.788" v="14" actId="167"/>
        <pc:sldMkLst>
          <pc:docMk/>
          <pc:sldMk cId="101618977" sldId="2147476258"/>
        </pc:sldMkLst>
        <pc:graphicFrameChg chg="del">
          <ac:chgData name="iimura jinichi/0526101/飯村　仁一" userId="c59d907f-9f79-4eb0-8b85-ab928fb3160e" providerId="ADAL" clId="{2BECFFD4-1741-4FD4-89CB-6F824F311E83}" dt="2025-07-11T09:07:07.163" v="12" actId="478"/>
          <ac:graphicFrameMkLst>
            <pc:docMk/>
            <pc:sldMk cId="101618977" sldId="2147476258"/>
            <ac:graphicFrameMk id="6" creationId="{CA8E2A68-9716-173E-515E-C9C3A14F91D1}"/>
          </ac:graphicFrameMkLst>
        </pc:graphicFrameChg>
        <pc:graphicFrameChg chg="add mod ord">
          <ac:chgData name="iimura jinichi/0526101/飯村　仁一" userId="c59d907f-9f79-4eb0-8b85-ab928fb3160e" providerId="ADAL" clId="{2BECFFD4-1741-4FD4-89CB-6F824F311E83}" dt="2025-07-11T09:07:23.788" v="14" actId="167"/>
          <ac:graphicFrameMkLst>
            <pc:docMk/>
            <pc:sldMk cId="101618977" sldId="2147476258"/>
            <ac:graphicFrameMk id="8" creationId="{DCEF3266-DC93-7D02-E395-398168C6044A}"/>
          </ac:graphicFrameMkLst>
        </pc:graphicFrameChg>
      </pc:sldChg>
      <pc:sldChg chg="addSp delSp modSp mod">
        <pc:chgData name="iimura jinichi/0526101/飯村　仁一" userId="c59d907f-9f79-4eb0-8b85-ab928fb3160e" providerId="ADAL" clId="{2BECFFD4-1741-4FD4-89CB-6F824F311E83}" dt="2025-07-11T09:06:35.795" v="8"/>
        <pc:sldMkLst>
          <pc:docMk/>
          <pc:sldMk cId="1362544405" sldId="2147476269"/>
        </pc:sldMkLst>
        <pc:graphicFrameChg chg="add mod">
          <ac:chgData name="iimura jinichi/0526101/飯村　仁一" userId="c59d907f-9f79-4eb0-8b85-ab928fb3160e" providerId="ADAL" clId="{2BECFFD4-1741-4FD4-89CB-6F824F311E83}" dt="2025-07-11T09:06:35.795" v="8"/>
          <ac:graphicFrameMkLst>
            <pc:docMk/>
            <pc:sldMk cId="1362544405" sldId="2147476269"/>
            <ac:graphicFrameMk id="5" creationId="{B6B803F5-CF8F-2476-7A86-BC5B42A2D4AB}"/>
          </ac:graphicFrameMkLst>
        </pc:graphicFrameChg>
        <pc:graphicFrameChg chg="del">
          <ac:chgData name="iimura jinichi/0526101/飯村　仁一" userId="c59d907f-9f79-4eb0-8b85-ab928fb3160e" providerId="ADAL" clId="{2BECFFD4-1741-4FD4-89CB-6F824F311E83}" dt="2025-07-11T09:06:28.135" v="7" actId="478"/>
          <ac:graphicFrameMkLst>
            <pc:docMk/>
            <pc:sldMk cId="1362544405" sldId="2147476269"/>
            <ac:graphicFrameMk id="9" creationId="{4489B312-54C6-AE32-AC61-F70E865CA9E9}"/>
          </ac:graphicFrameMkLst>
        </pc:graphicFrameChg>
      </pc:sldChg>
      <pc:sldChg chg="modSp mod">
        <pc:chgData name="iimura jinichi/0526101/飯村　仁一" userId="c59d907f-9f79-4eb0-8b85-ab928fb3160e" providerId="ADAL" clId="{2BECFFD4-1741-4FD4-89CB-6F824F311E83}" dt="2025-07-07T05:52:21.498" v="0"/>
        <pc:sldMkLst>
          <pc:docMk/>
          <pc:sldMk cId="3417380775" sldId="2147476270"/>
        </pc:sldMkLst>
        <pc:spChg chg="mod">
          <ac:chgData name="iimura jinichi/0526101/飯村　仁一" userId="c59d907f-9f79-4eb0-8b85-ab928fb3160e" providerId="ADAL" clId="{2BECFFD4-1741-4FD4-89CB-6F824F311E83}" dt="2025-07-07T05:52:21.498" v="0"/>
          <ac:spMkLst>
            <pc:docMk/>
            <pc:sldMk cId="3417380775" sldId="2147476270"/>
            <ac:spMk id="9" creationId="{7FAB7FED-86C0-349A-32E6-486F205BB8B9}"/>
          </ac:spMkLst>
        </pc:spChg>
      </pc:sldChg>
      <pc:sldChg chg="modSp mod">
        <pc:chgData name="iimura jinichi/0526101/飯村　仁一" userId="c59d907f-9f79-4eb0-8b85-ab928fb3160e" providerId="ADAL" clId="{2BECFFD4-1741-4FD4-89CB-6F824F311E83}" dt="2025-07-07T05:53:34.414" v="2" actId="404"/>
        <pc:sldMkLst>
          <pc:docMk/>
          <pc:sldMk cId="1652214018" sldId="2147476275"/>
        </pc:sldMkLst>
        <pc:spChg chg="mod">
          <ac:chgData name="iimura jinichi/0526101/飯村　仁一" userId="c59d907f-9f79-4eb0-8b85-ab928fb3160e" providerId="ADAL" clId="{2BECFFD4-1741-4FD4-89CB-6F824F311E83}" dt="2025-07-07T05:53:34.414" v="2" actId="404"/>
          <ac:spMkLst>
            <pc:docMk/>
            <pc:sldMk cId="1652214018" sldId="2147476275"/>
            <ac:spMk id="6" creationId="{E3CEBE24-4411-7EC1-2AED-B58B586D888A}"/>
          </ac:spMkLst>
        </pc:spChg>
      </pc:sldChg>
      <pc:sldChg chg="modSp mod">
        <pc:chgData name="iimura jinichi/0526101/飯村　仁一" userId="c59d907f-9f79-4eb0-8b85-ab928fb3160e" providerId="ADAL" clId="{2BECFFD4-1741-4FD4-89CB-6F824F311E83}" dt="2025-07-07T05:54:39.941" v="6" actId="404"/>
        <pc:sldMkLst>
          <pc:docMk/>
          <pc:sldMk cId="148434690" sldId="2147476277"/>
        </pc:sldMkLst>
        <pc:spChg chg="mod">
          <ac:chgData name="iimura jinichi/0526101/飯村　仁一" userId="c59d907f-9f79-4eb0-8b85-ab928fb3160e" providerId="ADAL" clId="{2BECFFD4-1741-4FD4-89CB-6F824F311E83}" dt="2025-07-07T05:54:39.941" v="6" actId="404"/>
          <ac:spMkLst>
            <pc:docMk/>
            <pc:sldMk cId="148434690" sldId="2147476277"/>
            <ac:spMk id="5" creationId="{CA9AD951-AB0A-F544-7224-4DC94CDD3179}"/>
          </ac:spMkLst>
        </pc:spChg>
      </pc:sldChg>
    </pc:docChg>
  </pc:docChgLst>
  <pc:docChgLst>
    <pc:chgData name="Iimura, Jinichi" userId="9e18df6b-b397-4f9f-a1c6-0abee7ae91a5" providerId="ADAL" clId="{BDA1215C-5EA2-458B-BFCC-3FD00F947048}"/>
    <pc:docChg chg="undo custSel addSld delSld modSld sldOrd addSection delSection modSection">
      <pc:chgData name="Iimura, Jinichi" userId="9e18df6b-b397-4f9f-a1c6-0abee7ae91a5" providerId="ADAL" clId="{BDA1215C-5EA2-458B-BFCC-3FD00F947048}" dt="2025-06-18T05:39:27.154" v="387" actId="47"/>
      <pc:docMkLst>
        <pc:docMk/>
      </pc:docMkLst>
      <pc:sldChg chg="modSp add mod">
        <pc:chgData name="Iimura, Jinichi" userId="9e18df6b-b397-4f9f-a1c6-0abee7ae91a5" providerId="ADAL" clId="{BDA1215C-5EA2-458B-BFCC-3FD00F947048}" dt="2025-06-17T02:30:51.226" v="72" actId="20577"/>
        <pc:sldMkLst>
          <pc:docMk/>
          <pc:sldMk cId="3665934945" sldId="256"/>
        </pc:sldMkLst>
        <pc:spChg chg="mod">
          <ac:chgData name="Iimura, Jinichi" userId="9e18df6b-b397-4f9f-a1c6-0abee7ae91a5" providerId="ADAL" clId="{BDA1215C-5EA2-458B-BFCC-3FD00F947048}" dt="2025-06-17T02:30:51.226" v="72" actId="20577"/>
          <ac:spMkLst>
            <pc:docMk/>
            <pc:sldMk cId="3665934945" sldId="256"/>
            <ac:spMk id="7" creationId="{E463306C-318F-AFE8-C603-FA1CF0EF24F0}"/>
          </ac:spMkLst>
        </pc:spChg>
        <pc:spChg chg="mod">
          <ac:chgData name="Iimura, Jinichi" userId="9e18df6b-b397-4f9f-a1c6-0abee7ae91a5" providerId="ADAL" clId="{BDA1215C-5EA2-458B-BFCC-3FD00F947048}" dt="2025-06-17T02:26:10.787" v="50" actId="20577"/>
          <ac:spMkLst>
            <pc:docMk/>
            <pc:sldMk cId="3665934945" sldId="256"/>
            <ac:spMk id="13" creationId="{754FBCAA-A114-8A96-47B3-9AB10E92A7C3}"/>
          </ac:spMkLst>
        </pc:spChg>
      </pc:sldChg>
      <pc:sldChg chg="addSp delSp modSp mod">
        <pc:chgData name="Iimura, Jinichi" userId="9e18df6b-b397-4f9f-a1c6-0abee7ae91a5" providerId="ADAL" clId="{BDA1215C-5EA2-458B-BFCC-3FD00F947048}" dt="2025-06-18T05:36:11.496" v="386" actId="478"/>
        <pc:sldMkLst>
          <pc:docMk/>
          <pc:sldMk cId="823850065" sldId="2147476199"/>
        </pc:sldMkLst>
        <pc:spChg chg="add del mod">
          <ac:chgData name="Iimura, Jinichi" userId="9e18df6b-b397-4f9f-a1c6-0abee7ae91a5" providerId="ADAL" clId="{BDA1215C-5EA2-458B-BFCC-3FD00F947048}" dt="2025-06-18T05:36:11.496" v="386" actId="478"/>
          <ac:spMkLst>
            <pc:docMk/>
            <pc:sldMk cId="823850065" sldId="2147476199"/>
            <ac:spMk id="2" creationId="{46DD2789-61F4-3DD1-6D98-EF6FCC533C0F}"/>
          </ac:spMkLst>
        </pc:spChg>
      </pc:sldChg>
      <pc:sldChg chg="ord">
        <pc:chgData name="Iimura, Jinichi" userId="9e18df6b-b397-4f9f-a1c6-0abee7ae91a5" providerId="ADAL" clId="{BDA1215C-5EA2-458B-BFCC-3FD00F947048}" dt="2025-06-17T02:28:38.450" v="58"/>
        <pc:sldMkLst>
          <pc:docMk/>
          <pc:sldMk cId="1018229851" sldId="2147476231"/>
        </pc:sldMkLst>
      </pc:sldChg>
      <pc:sldChg chg="modSp mod">
        <pc:chgData name="Iimura, Jinichi" userId="9e18df6b-b397-4f9f-a1c6-0abee7ae91a5" providerId="ADAL" clId="{BDA1215C-5EA2-458B-BFCC-3FD00F947048}" dt="2025-06-17T02:30:06.064" v="63" actId="20577"/>
        <pc:sldMkLst>
          <pc:docMk/>
          <pc:sldMk cId="2571871654" sldId="2147476233"/>
        </pc:sldMkLst>
        <pc:spChg chg="mod">
          <ac:chgData name="Iimura, Jinichi" userId="9e18df6b-b397-4f9f-a1c6-0abee7ae91a5" providerId="ADAL" clId="{BDA1215C-5EA2-458B-BFCC-3FD00F947048}" dt="2025-06-17T02:30:06.064" v="63" actId="20577"/>
          <ac:spMkLst>
            <pc:docMk/>
            <pc:sldMk cId="2571871654" sldId="2147476233"/>
            <ac:spMk id="3" creationId="{AD04AFEF-C73B-87E0-C3D3-C42C2F3ACF7F}"/>
          </ac:spMkLst>
        </pc:spChg>
      </pc:sldChg>
      <pc:sldChg chg="modSp mod">
        <pc:chgData name="Iimura, Jinichi" userId="9e18df6b-b397-4f9f-a1c6-0abee7ae91a5" providerId="ADAL" clId="{BDA1215C-5EA2-458B-BFCC-3FD00F947048}" dt="2025-06-17T02:30:11.853" v="64" actId="20577"/>
        <pc:sldMkLst>
          <pc:docMk/>
          <pc:sldMk cId="3293238788" sldId="2147476234"/>
        </pc:sldMkLst>
        <pc:spChg chg="mod">
          <ac:chgData name="Iimura, Jinichi" userId="9e18df6b-b397-4f9f-a1c6-0abee7ae91a5" providerId="ADAL" clId="{BDA1215C-5EA2-458B-BFCC-3FD00F947048}" dt="2025-06-17T02:30:11.853" v="64" actId="20577"/>
          <ac:spMkLst>
            <pc:docMk/>
            <pc:sldMk cId="3293238788" sldId="2147476234"/>
            <ac:spMk id="14" creationId="{E8D7D17C-792A-B5C6-D86C-40A5BF79711E}"/>
          </ac:spMkLst>
        </pc:spChg>
      </pc:sldChg>
      <pc:sldChg chg="modSp mod">
        <pc:chgData name="Iimura, Jinichi" userId="9e18df6b-b397-4f9f-a1c6-0abee7ae91a5" providerId="ADAL" clId="{BDA1215C-5EA2-458B-BFCC-3FD00F947048}" dt="2025-06-17T02:29:47.259" v="62"/>
        <pc:sldMkLst>
          <pc:docMk/>
          <pc:sldMk cId="4078471621" sldId="2147476238"/>
        </pc:sldMkLst>
        <pc:spChg chg="mod">
          <ac:chgData name="Iimura, Jinichi" userId="9e18df6b-b397-4f9f-a1c6-0abee7ae91a5" providerId="ADAL" clId="{BDA1215C-5EA2-458B-BFCC-3FD00F947048}" dt="2025-06-17T02:29:47.259" v="62"/>
          <ac:spMkLst>
            <pc:docMk/>
            <pc:sldMk cId="4078471621" sldId="2147476238"/>
            <ac:spMk id="13" creationId="{22ECFFBA-584D-0208-9494-3F6A561CEFA6}"/>
          </ac:spMkLst>
        </pc:spChg>
        <pc:cxnChg chg="mod">
          <ac:chgData name="Iimura, Jinichi" userId="9e18df6b-b397-4f9f-a1c6-0abee7ae91a5" providerId="ADAL" clId="{BDA1215C-5EA2-458B-BFCC-3FD00F947048}" dt="2025-06-17T02:29:46.138" v="60" actId="1076"/>
          <ac:cxnSpMkLst>
            <pc:docMk/>
            <pc:sldMk cId="4078471621" sldId="2147476238"/>
            <ac:cxnSpMk id="16" creationId="{A5E3E74D-35D3-6098-14C3-7B354C66E604}"/>
          </ac:cxnSpMkLst>
        </pc:cxnChg>
        <pc:cxnChg chg="mod">
          <ac:chgData name="Iimura, Jinichi" userId="9e18df6b-b397-4f9f-a1c6-0abee7ae91a5" providerId="ADAL" clId="{BDA1215C-5EA2-458B-BFCC-3FD00F947048}" dt="2025-06-17T02:29:46.138" v="60" actId="1076"/>
          <ac:cxnSpMkLst>
            <pc:docMk/>
            <pc:sldMk cId="4078471621" sldId="2147476238"/>
            <ac:cxnSpMk id="28" creationId="{4E43954C-5628-8714-4B7E-F4F3A4C61B5C}"/>
          </ac:cxnSpMkLst>
        </pc:cxnChg>
        <pc:cxnChg chg="mod">
          <ac:chgData name="Iimura, Jinichi" userId="9e18df6b-b397-4f9f-a1c6-0abee7ae91a5" providerId="ADAL" clId="{BDA1215C-5EA2-458B-BFCC-3FD00F947048}" dt="2025-06-17T02:29:46.138" v="60" actId="1076"/>
          <ac:cxnSpMkLst>
            <pc:docMk/>
            <pc:sldMk cId="4078471621" sldId="2147476238"/>
            <ac:cxnSpMk id="35" creationId="{130B207A-FF43-00B4-2956-58739FD2D238}"/>
          </ac:cxnSpMkLst>
        </pc:cxnChg>
      </pc:sldChg>
      <pc:sldChg chg="del">
        <pc:chgData name="Iimura, Jinichi" userId="9e18df6b-b397-4f9f-a1c6-0abee7ae91a5" providerId="ADAL" clId="{BDA1215C-5EA2-458B-BFCC-3FD00F947048}" dt="2025-06-17T02:25:48.258" v="0" actId="47"/>
        <pc:sldMkLst>
          <pc:docMk/>
          <pc:sldMk cId="2544358239" sldId="2147476247"/>
        </pc:sldMkLst>
      </pc:sldChg>
      <pc:sldChg chg="ord">
        <pc:chgData name="Iimura, Jinichi" userId="9e18df6b-b397-4f9f-a1c6-0abee7ae91a5" providerId="ADAL" clId="{BDA1215C-5EA2-458B-BFCC-3FD00F947048}" dt="2025-06-17T02:26:46.270" v="56"/>
        <pc:sldMkLst>
          <pc:docMk/>
          <pc:sldMk cId="3336496979" sldId="2147476248"/>
        </pc:sldMkLst>
      </pc:sldChg>
      <pc:sldChg chg="addSp delSp modSp new add del mod ord">
        <pc:chgData name="Iimura, Jinichi" userId="9e18df6b-b397-4f9f-a1c6-0abee7ae91a5" providerId="ADAL" clId="{BDA1215C-5EA2-458B-BFCC-3FD00F947048}" dt="2025-06-18T05:27:30.264" v="310"/>
        <pc:sldMkLst>
          <pc:docMk/>
          <pc:sldMk cId="1859531097" sldId="2147476249"/>
        </pc:sldMkLst>
        <pc:spChg chg="mod">
          <ac:chgData name="Iimura, Jinichi" userId="9e18df6b-b397-4f9f-a1c6-0abee7ae91a5" providerId="ADAL" clId="{BDA1215C-5EA2-458B-BFCC-3FD00F947048}" dt="2025-06-17T02:38:43.771" v="211" actId="404"/>
          <ac:spMkLst>
            <pc:docMk/>
            <pc:sldMk cId="1859531097" sldId="2147476249"/>
            <ac:spMk id="2" creationId="{3B84560E-C9F3-C336-7F55-25F16E12EAD5}"/>
          </ac:spMkLst>
        </pc:spChg>
        <pc:spChg chg="del mod">
          <ac:chgData name="Iimura, Jinichi" userId="9e18df6b-b397-4f9f-a1c6-0abee7ae91a5" providerId="ADAL" clId="{BDA1215C-5EA2-458B-BFCC-3FD00F947048}" dt="2025-06-17T02:32:14.565" v="94" actId="478"/>
          <ac:spMkLst>
            <pc:docMk/>
            <pc:sldMk cId="1859531097" sldId="2147476249"/>
            <ac:spMk id="3" creationId="{BF1E4315-12E8-29C1-F3FA-680F661937CB}"/>
          </ac:spMkLst>
        </pc:spChg>
        <pc:spChg chg="mod">
          <ac:chgData name="Iimura, Jinichi" userId="9e18df6b-b397-4f9f-a1c6-0abee7ae91a5" providerId="ADAL" clId="{BDA1215C-5EA2-458B-BFCC-3FD00F947048}" dt="2025-06-18T05:27:30.260" v="308" actId="948"/>
          <ac:spMkLst>
            <pc:docMk/>
            <pc:sldMk cId="1859531097" sldId="2147476249"/>
            <ac:spMk id="4" creationId="{C0CD4ED1-0F74-83B6-F4AC-8C87103B97BF}"/>
          </ac:spMkLst>
        </pc:spChg>
        <pc:spChg chg="add del">
          <ac:chgData name="Iimura, Jinichi" userId="9e18df6b-b397-4f9f-a1c6-0abee7ae91a5" providerId="ADAL" clId="{BDA1215C-5EA2-458B-BFCC-3FD00F947048}" dt="2025-06-17T02:32:04.895" v="75" actId="22"/>
          <ac:spMkLst>
            <pc:docMk/>
            <pc:sldMk cId="1859531097" sldId="2147476249"/>
            <ac:spMk id="6" creationId="{A563F77F-48E1-D5CC-2A06-3F957CA9278D}"/>
          </ac:spMkLst>
        </pc:spChg>
        <pc:spChg chg="add mod">
          <ac:chgData name="Iimura, Jinichi" userId="9e18df6b-b397-4f9f-a1c6-0abee7ae91a5" providerId="ADAL" clId="{BDA1215C-5EA2-458B-BFCC-3FD00F947048}" dt="2025-06-17T02:32:15.736" v="96"/>
          <ac:spMkLst>
            <pc:docMk/>
            <pc:sldMk cId="1859531097" sldId="2147476249"/>
            <ac:spMk id="8" creationId="{23344049-8143-131E-F0F2-29E5EEAD6D93}"/>
          </ac:spMkLst>
        </pc:spChg>
        <pc:spChg chg="add mod">
          <ac:chgData name="Iimura, Jinichi" userId="9e18df6b-b397-4f9f-a1c6-0abee7ae91a5" providerId="ADAL" clId="{BDA1215C-5EA2-458B-BFCC-3FD00F947048}" dt="2025-06-18T05:27:21.646" v="267" actId="20577"/>
          <ac:spMkLst>
            <pc:docMk/>
            <pc:sldMk cId="1859531097" sldId="2147476249"/>
            <ac:spMk id="9" creationId="{7FAB7FED-86C0-349A-32E6-486F205BB8B9}"/>
          </ac:spMkLst>
        </pc:spChg>
        <pc:spChg chg="add del mod">
          <ac:chgData name="Iimura, Jinichi" userId="9e18df6b-b397-4f9f-a1c6-0abee7ae91a5" providerId="ADAL" clId="{BDA1215C-5EA2-458B-BFCC-3FD00F947048}" dt="2025-06-17T02:35:36.213" v="175" actId="478"/>
          <ac:spMkLst>
            <pc:docMk/>
            <pc:sldMk cId="1859531097" sldId="2147476249"/>
            <ac:spMk id="10" creationId="{2E900ECA-B5AA-17E4-A871-AF589ADFEAB8}"/>
          </ac:spMkLst>
        </pc:spChg>
        <pc:spChg chg="add del mod">
          <ac:chgData name="Iimura, Jinichi" userId="9e18df6b-b397-4f9f-a1c6-0abee7ae91a5" providerId="ADAL" clId="{BDA1215C-5EA2-458B-BFCC-3FD00F947048}" dt="2025-06-17T02:38:43.771" v="211" actId="404"/>
          <ac:spMkLst>
            <pc:docMk/>
            <pc:sldMk cId="1859531097" sldId="2147476249"/>
            <ac:spMk id="11" creationId="{0EC7281E-A90C-3C15-49DE-D55E499FAA99}"/>
          </ac:spMkLst>
        </pc:spChg>
        <pc:spChg chg="add mod">
          <ac:chgData name="Iimura, Jinichi" userId="9e18df6b-b397-4f9f-a1c6-0abee7ae91a5" providerId="ADAL" clId="{BDA1215C-5EA2-458B-BFCC-3FD00F947048}" dt="2025-06-17T02:38:43.771" v="211" actId="404"/>
          <ac:spMkLst>
            <pc:docMk/>
            <pc:sldMk cId="1859531097" sldId="2147476249"/>
            <ac:spMk id="12" creationId="{FA7B8201-B10C-CA15-B4C9-D60A9EC79CD8}"/>
          </ac:spMkLst>
        </pc:spChg>
        <pc:spChg chg="add mod">
          <ac:chgData name="Iimura, Jinichi" userId="9e18df6b-b397-4f9f-a1c6-0abee7ae91a5" providerId="ADAL" clId="{BDA1215C-5EA2-458B-BFCC-3FD00F947048}" dt="2025-06-17T02:38:43.771" v="211" actId="404"/>
          <ac:spMkLst>
            <pc:docMk/>
            <pc:sldMk cId="1859531097" sldId="2147476249"/>
            <ac:spMk id="13" creationId="{FF7658A8-B13E-BC20-5F6A-5892E86FFA86}"/>
          </ac:spMkLst>
        </pc:spChg>
        <pc:spChg chg="add mod">
          <ac:chgData name="Iimura, Jinichi" userId="9e18df6b-b397-4f9f-a1c6-0abee7ae91a5" providerId="ADAL" clId="{BDA1215C-5EA2-458B-BFCC-3FD00F947048}" dt="2025-06-17T02:38:43.771" v="211" actId="404"/>
          <ac:spMkLst>
            <pc:docMk/>
            <pc:sldMk cId="1859531097" sldId="2147476249"/>
            <ac:spMk id="15" creationId="{F599A748-211D-BB62-0D32-D176DAF953E6}"/>
          </ac:spMkLst>
        </pc:spChg>
        <pc:spChg chg="add mod">
          <ac:chgData name="Iimura, Jinichi" userId="9e18df6b-b397-4f9f-a1c6-0abee7ae91a5" providerId="ADAL" clId="{BDA1215C-5EA2-458B-BFCC-3FD00F947048}" dt="2025-06-17T02:38:43.771" v="211" actId="404"/>
          <ac:spMkLst>
            <pc:docMk/>
            <pc:sldMk cId="1859531097" sldId="2147476249"/>
            <ac:spMk id="17" creationId="{BA9954D5-4C47-C33D-F417-D7C272E45BE3}"/>
          </ac:spMkLst>
        </pc:spChg>
        <pc:spChg chg="add mod">
          <ac:chgData name="Iimura, Jinichi" userId="9e18df6b-b397-4f9f-a1c6-0abee7ae91a5" providerId="ADAL" clId="{BDA1215C-5EA2-458B-BFCC-3FD00F947048}" dt="2025-06-17T02:38:43.771" v="211" actId="404"/>
          <ac:spMkLst>
            <pc:docMk/>
            <pc:sldMk cId="1859531097" sldId="2147476249"/>
            <ac:spMk id="18" creationId="{B85305EE-5993-8388-4926-229A068A2D47}"/>
          </ac:spMkLst>
        </pc:spChg>
        <pc:spChg chg="add mod">
          <ac:chgData name="Iimura, Jinichi" userId="9e18df6b-b397-4f9f-a1c6-0abee7ae91a5" providerId="ADAL" clId="{BDA1215C-5EA2-458B-BFCC-3FD00F947048}" dt="2025-06-17T02:38:43.771" v="211" actId="404"/>
          <ac:spMkLst>
            <pc:docMk/>
            <pc:sldMk cId="1859531097" sldId="2147476249"/>
            <ac:spMk id="19" creationId="{2D4A9EF6-BEA3-935F-979C-C6DF0B046C0F}"/>
          </ac:spMkLst>
        </pc:spChg>
        <pc:spChg chg="add mod">
          <ac:chgData name="Iimura, Jinichi" userId="9e18df6b-b397-4f9f-a1c6-0abee7ae91a5" providerId="ADAL" clId="{BDA1215C-5EA2-458B-BFCC-3FD00F947048}" dt="2025-06-17T02:38:43.771" v="211" actId="404"/>
          <ac:spMkLst>
            <pc:docMk/>
            <pc:sldMk cId="1859531097" sldId="2147476249"/>
            <ac:spMk id="20" creationId="{0EE6FFC3-6B6E-F000-CBEC-61DC2965F598}"/>
          </ac:spMkLst>
        </pc:spChg>
        <pc:spChg chg="add mod">
          <ac:chgData name="Iimura, Jinichi" userId="9e18df6b-b397-4f9f-a1c6-0abee7ae91a5" providerId="ADAL" clId="{BDA1215C-5EA2-458B-BFCC-3FD00F947048}" dt="2025-06-17T02:38:43.771" v="211" actId="404"/>
          <ac:spMkLst>
            <pc:docMk/>
            <pc:sldMk cId="1859531097" sldId="2147476249"/>
            <ac:spMk id="21" creationId="{D5F377DA-8991-CBD9-DEB2-C631C5821F08}"/>
          </ac:spMkLst>
        </pc:spChg>
        <pc:spChg chg="add del mod">
          <ac:chgData name="Iimura, Jinichi" userId="9e18df6b-b397-4f9f-a1c6-0abee7ae91a5" providerId="ADAL" clId="{BDA1215C-5EA2-458B-BFCC-3FD00F947048}" dt="2025-06-17T02:36:27.214" v="202" actId="478"/>
          <ac:spMkLst>
            <pc:docMk/>
            <pc:sldMk cId="1859531097" sldId="2147476249"/>
            <ac:spMk id="25" creationId="{9FAF8008-DB25-F490-AFDF-F3CA02BA1F48}"/>
          </ac:spMkLst>
        </pc:spChg>
        <pc:spChg chg="add del mod">
          <ac:chgData name="Iimura, Jinichi" userId="9e18df6b-b397-4f9f-a1c6-0abee7ae91a5" providerId="ADAL" clId="{BDA1215C-5EA2-458B-BFCC-3FD00F947048}" dt="2025-06-17T02:36:27.214" v="202" actId="478"/>
          <ac:spMkLst>
            <pc:docMk/>
            <pc:sldMk cId="1859531097" sldId="2147476249"/>
            <ac:spMk id="26" creationId="{9B943C69-1288-14DC-BE02-2F76AF870279}"/>
          </ac:spMkLst>
        </pc:spChg>
        <pc:spChg chg="add del mod">
          <ac:chgData name="Iimura, Jinichi" userId="9e18df6b-b397-4f9f-a1c6-0abee7ae91a5" providerId="ADAL" clId="{BDA1215C-5EA2-458B-BFCC-3FD00F947048}" dt="2025-06-17T02:36:27.214" v="202" actId="478"/>
          <ac:spMkLst>
            <pc:docMk/>
            <pc:sldMk cId="1859531097" sldId="2147476249"/>
            <ac:spMk id="27" creationId="{BA570A7A-738F-3E17-3069-A0619D71200A}"/>
          </ac:spMkLst>
        </pc:spChg>
        <pc:spChg chg="add del mod">
          <ac:chgData name="Iimura, Jinichi" userId="9e18df6b-b397-4f9f-a1c6-0abee7ae91a5" providerId="ADAL" clId="{BDA1215C-5EA2-458B-BFCC-3FD00F947048}" dt="2025-06-17T02:36:27.214" v="202" actId="478"/>
          <ac:spMkLst>
            <pc:docMk/>
            <pc:sldMk cId="1859531097" sldId="2147476249"/>
            <ac:spMk id="28" creationId="{59FC53B4-8F2A-7721-B0A4-2811670340CF}"/>
          </ac:spMkLst>
        </pc:spChg>
        <pc:spChg chg="add mod">
          <ac:chgData name="Iimura, Jinichi" userId="9e18df6b-b397-4f9f-a1c6-0abee7ae91a5" providerId="ADAL" clId="{BDA1215C-5EA2-458B-BFCC-3FD00F947048}" dt="2025-06-17T02:38:43.771" v="211" actId="404"/>
          <ac:spMkLst>
            <pc:docMk/>
            <pc:sldMk cId="1859531097" sldId="2147476249"/>
            <ac:spMk id="31" creationId="{DE966954-9564-D27C-51EC-66F29A0A4069}"/>
          </ac:spMkLst>
        </pc:spChg>
        <pc:spChg chg="add mod">
          <ac:chgData name="Iimura, Jinichi" userId="9e18df6b-b397-4f9f-a1c6-0abee7ae91a5" providerId="ADAL" clId="{BDA1215C-5EA2-458B-BFCC-3FD00F947048}" dt="2025-06-17T02:38:43.771" v="211" actId="404"/>
          <ac:spMkLst>
            <pc:docMk/>
            <pc:sldMk cId="1859531097" sldId="2147476249"/>
            <ac:spMk id="32" creationId="{20F21351-0918-6AF4-6B7C-D00F092C806B}"/>
          </ac:spMkLst>
        </pc:spChg>
        <pc:spChg chg="add mod">
          <ac:chgData name="Iimura, Jinichi" userId="9e18df6b-b397-4f9f-a1c6-0abee7ae91a5" providerId="ADAL" clId="{BDA1215C-5EA2-458B-BFCC-3FD00F947048}" dt="2025-06-17T02:38:43.771" v="211" actId="404"/>
          <ac:spMkLst>
            <pc:docMk/>
            <pc:sldMk cId="1859531097" sldId="2147476249"/>
            <ac:spMk id="33" creationId="{7727D9AC-836F-C7BB-77FC-41D54F08FE8E}"/>
          </ac:spMkLst>
        </pc:spChg>
        <pc:spChg chg="add mod">
          <ac:chgData name="Iimura, Jinichi" userId="9e18df6b-b397-4f9f-a1c6-0abee7ae91a5" providerId="ADAL" clId="{BDA1215C-5EA2-458B-BFCC-3FD00F947048}" dt="2025-06-17T02:38:43.771" v="211" actId="404"/>
          <ac:spMkLst>
            <pc:docMk/>
            <pc:sldMk cId="1859531097" sldId="2147476249"/>
            <ac:spMk id="34" creationId="{77FECD65-87E2-0B9C-7FBB-C770303D75EF}"/>
          </ac:spMkLst>
        </pc:spChg>
        <pc:spChg chg="add mod">
          <ac:chgData name="Iimura, Jinichi" userId="9e18df6b-b397-4f9f-a1c6-0abee7ae91a5" providerId="ADAL" clId="{BDA1215C-5EA2-458B-BFCC-3FD00F947048}" dt="2025-06-17T02:38:43.771" v="211" actId="404"/>
          <ac:spMkLst>
            <pc:docMk/>
            <pc:sldMk cId="1859531097" sldId="2147476249"/>
            <ac:spMk id="35" creationId="{EB859FA2-D846-36FC-D426-A73BED3983E8}"/>
          </ac:spMkLst>
        </pc:spChg>
        <pc:spChg chg="add mod">
          <ac:chgData name="Iimura, Jinichi" userId="9e18df6b-b397-4f9f-a1c6-0abee7ae91a5" providerId="ADAL" clId="{BDA1215C-5EA2-458B-BFCC-3FD00F947048}" dt="2025-06-17T02:38:43.771" v="211" actId="404"/>
          <ac:spMkLst>
            <pc:docMk/>
            <pc:sldMk cId="1859531097" sldId="2147476249"/>
            <ac:spMk id="36" creationId="{1B34CB90-071C-E8FD-1117-55BB62DB41DE}"/>
          </ac:spMkLst>
        </pc:spChg>
        <pc:spChg chg="add mod">
          <ac:chgData name="Iimura, Jinichi" userId="9e18df6b-b397-4f9f-a1c6-0abee7ae91a5" providerId="ADAL" clId="{BDA1215C-5EA2-458B-BFCC-3FD00F947048}" dt="2025-06-17T02:38:43.771" v="211" actId="404"/>
          <ac:spMkLst>
            <pc:docMk/>
            <pc:sldMk cId="1859531097" sldId="2147476249"/>
            <ac:spMk id="37" creationId="{995E6EA0-F358-2E15-0B64-98DC7673CE24}"/>
          </ac:spMkLst>
        </pc:spChg>
        <pc:spChg chg="add mod">
          <ac:chgData name="Iimura, Jinichi" userId="9e18df6b-b397-4f9f-a1c6-0abee7ae91a5" providerId="ADAL" clId="{BDA1215C-5EA2-458B-BFCC-3FD00F947048}" dt="2025-06-17T02:38:43.771" v="211" actId="404"/>
          <ac:spMkLst>
            <pc:docMk/>
            <pc:sldMk cId="1859531097" sldId="2147476249"/>
            <ac:spMk id="38" creationId="{CFBD0683-8EAD-1253-5903-436794324D63}"/>
          </ac:spMkLst>
        </pc:spChg>
        <pc:spChg chg="add del mod">
          <ac:chgData name="Iimura, Jinichi" userId="9e18df6b-b397-4f9f-a1c6-0abee7ae91a5" providerId="ADAL" clId="{BDA1215C-5EA2-458B-BFCC-3FD00F947048}" dt="2025-06-17T02:36:02.314" v="196" actId="478"/>
          <ac:spMkLst>
            <pc:docMk/>
            <pc:sldMk cId="1859531097" sldId="2147476249"/>
            <ac:spMk id="57" creationId="{A66AD3F7-D4D0-5FA0-B21F-C96B32BBD7B9}"/>
          </ac:spMkLst>
        </pc:spChg>
        <pc:spChg chg="add mod">
          <ac:chgData name="Iimura, Jinichi" userId="9e18df6b-b397-4f9f-a1c6-0abee7ae91a5" providerId="ADAL" clId="{BDA1215C-5EA2-458B-BFCC-3FD00F947048}" dt="2025-06-17T03:32:43.389" v="253" actId="20577"/>
          <ac:spMkLst>
            <pc:docMk/>
            <pc:sldMk cId="1859531097" sldId="2147476249"/>
            <ac:spMk id="66" creationId="{8A339021-7014-D902-DAE4-712C3FA18771}"/>
          </ac:spMkLst>
        </pc:spChg>
        <pc:graphicFrameChg chg="add mod ord modVis replST">
          <ac:chgData name="Iimura, Jinichi" userId="9e18df6b-b397-4f9f-a1c6-0abee7ae91a5" providerId="ADAL" clId="{BDA1215C-5EA2-458B-BFCC-3FD00F947048}" dt="2025-06-18T05:27:30.264" v="310"/>
          <ac:graphicFrameMkLst>
            <pc:docMk/>
            <pc:sldMk cId="1859531097" sldId="2147476249"/>
            <ac:graphicFrameMk id="7" creationId="{2A84D1DA-97ED-2719-33EF-A13650BDF72A}"/>
          </ac:graphicFrameMkLst>
        </pc:graphicFrameChg>
        <pc:cxnChg chg="add mod">
          <ac:chgData name="Iimura, Jinichi" userId="9e18df6b-b397-4f9f-a1c6-0abee7ae91a5" providerId="ADAL" clId="{BDA1215C-5EA2-458B-BFCC-3FD00F947048}" dt="2025-06-17T02:36:52.258" v="207" actId="1076"/>
          <ac:cxnSpMkLst>
            <pc:docMk/>
            <pc:sldMk cId="1859531097" sldId="2147476249"/>
            <ac:cxnSpMk id="14" creationId="{F10F571C-D0AD-66FE-3042-772090E4B0EA}"/>
          </ac:cxnSpMkLst>
        </pc:cxnChg>
        <pc:cxnChg chg="add mod">
          <ac:chgData name="Iimura, Jinichi" userId="9e18df6b-b397-4f9f-a1c6-0abee7ae91a5" providerId="ADAL" clId="{BDA1215C-5EA2-458B-BFCC-3FD00F947048}" dt="2025-06-17T02:36:52.258" v="207" actId="1076"/>
          <ac:cxnSpMkLst>
            <pc:docMk/>
            <pc:sldMk cId="1859531097" sldId="2147476249"/>
            <ac:cxnSpMk id="16" creationId="{D3294AEF-132B-EEC9-8CDD-F9A9B3615206}"/>
          </ac:cxnSpMkLst>
        </pc:cxnChg>
        <pc:cxnChg chg="add mod">
          <ac:chgData name="Iimura, Jinichi" userId="9e18df6b-b397-4f9f-a1c6-0abee7ae91a5" providerId="ADAL" clId="{BDA1215C-5EA2-458B-BFCC-3FD00F947048}" dt="2025-06-17T02:36:52.258" v="207" actId="1076"/>
          <ac:cxnSpMkLst>
            <pc:docMk/>
            <pc:sldMk cId="1859531097" sldId="2147476249"/>
            <ac:cxnSpMk id="22" creationId="{026C6372-24E8-0C75-95F0-EC532F87C8E3}"/>
          </ac:cxnSpMkLst>
        </pc:cxnChg>
        <pc:cxnChg chg="add mod">
          <ac:chgData name="Iimura, Jinichi" userId="9e18df6b-b397-4f9f-a1c6-0abee7ae91a5" providerId="ADAL" clId="{BDA1215C-5EA2-458B-BFCC-3FD00F947048}" dt="2025-06-17T02:36:52.258" v="207" actId="1076"/>
          <ac:cxnSpMkLst>
            <pc:docMk/>
            <pc:sldMk cId="1859531097" sldId="2147476249"/>
            <ac:cxnSpMk id="23" creationId="{C1CFC255-D82A-A91C-58F4-D31F804F78FB}"/>
          </ac:cxnSpMkLst>
        </pc:cxnChg>
        <pc:cxnChg chg="add mod">
          <ac:chgData name="Iimura, Jinichi" userId="9e18df6b-b397-4f9f-a1c6-0abee7ae91a5" providerId="ADAL" clId="{BDA1215C-5EA2-458B-BFCC-3FD00F947048}" dt="2025-06-17T02:36:52.258" v="207" actId="1076"/>
          <ac:cxnSpMkLst>
            <pc:docMk/>
            <pc:sldMk cId="1859531097" sldId="2147476249"/>
            <ac:cxnSpMk id="24" creationId="{CC0F81B0-F524-0017-82F0-75A932D3C179}"/>
          </ac:cxnSpMkLst>
        </pc:cxnChg>
        <pc:cxnChg chg="add del mod">
          <ac:chgData name="Iimura, Jinichi" userId="9e18df6b-b397-4f9f-a1c6-0abee7ae91a5" providerId="ADAL" clId="{BDA1215C-5EA2-458B-BFCC-3FD00F947048}" dt="2025-06-17T02:36:27.214" v="202" actId="478"/>
          <ac:cxnSpMkLst>
            <pc:docMk/>
            <pc:sldMk cId="1859531097" sldId="2147476249"/>
            <ac:cxnSpMk id="29" creationId="{7C331619-79CD-3138-7237-C145A58A51A6}"/>
          </ac:cxnSpMkLst>
        </pc:cxnChg>
        <pc:cxnChg chg="add del mod">
          <ac:chgData name="Iimura, Jinichi" userId="9e18df6b-b397-4f9f-a1c6-0abee7ae91a5" providerId="ADAL" clId="{BDA1215C-5EA2-458B-BFCC-3FD00F947048}" dt="2025-06-17T02:36:27.214" v="202" actId="478"/>
          <ac:cxnSpMkLst>
            <pc:docMk/>
            <pc:sldMk cId="1859531097" sldId="2147476249"/>
            <ac:cxnSpMk id="30" creationId="{8AC75219-781A-91B8-7FC2-E9ACD62A3CE7}"/>
          </ac:cxnSpMkLst>
        </pc:cxnChg>
        <pc:cxnChg chg="add del mod">
          <ac:chgData name="Iimura, Jinichi" userId="9e18df6b-b397-4f9f-a1c6-0abee7ae91a5" providerId="ADAL" clId="{BDA1215C-5EA2-458B-BFCC-3FD00F947048}" dt="2025-06-17T02:36:27.214" v="202" actId="478"/>
          <ac:cxnSpMkLst>
            <pc:docMk/>
            <pc:sldMk cId="1859531097" sldId="2147476249"/>
            <ac:cxnSpMk id="39" creationId="{F506ACEB-C71B-3381-0428-2DCDB7A8272C}"/>
          </ac:cxnSpMkLst>
        </pc:cxnChg>
        <pc:cxnChg chg="add mod">
          <ac:chgData name="Iimura, Jinichi" userId="9e18df6b-b397-4f9f-a1c6-0abee7ae91a5" providerId="ADAL" clId="{BDA1215C-5EA2-458B-BFCC-3FD00F947048}" dt="2025-06-17T02:36:52.258" v="207" actId="1076"/>
          <ac:cxnSpMkLst>
            <pc:docMk/>
            <pc:sldMk cId="1859531097" sldId="2147476249"/>
            <ac:cxnSpMk id="40" creationId="{E14BAE8A-E2AC-2C03-DC57-8EEEC2BDEA74}"/>
          </ac:cxnSpMkLst>
        </pc:cxnChg>
        <pc:cxnChg chg="add mod">
          <ac:chgData name="Iimura, Jinichi" userId="9e18df6b-b397-4f9f-a1c6-0abee7ae91a5" providerId="ADAL" clId="{BDA1215C-5EA2-458B-BFCC-3FD00F947048}" dt="2025-06-17T02:36:52.258" v="207" actId="1076"/>
          <ac:cxnSpMkLst>
            <pc:docMk/>
            <pc:sldMk cId="1859531097" sldId="2147476249"/>
            <ac:cxnSpMk id="41" creationId="{5326B0FD-9676-0F12-3BF3-127EDECF4DEE}"/>
          </ac:cxnSpMkLst>
        </pc:cxnChg>
        <pc:cxnChg chg="add mod">
          <ac:chgData name="Iimura, Jinichi" userId="9e18df6b-b397-4f9f-a1c6-0abee7ae91a5" providerId="ADAL" clId="{BDA1215C-5EA2-458B-BFCC-3FD00F947048}" dt="2025-06-17T02:36:52.258" v="207" actId="1076"/>
          <ac:cxnSpMkLst>
            <pc:docMk/>
            <pc:sldMk cId="1859531097" sldId="2147476249"/>
            <ac:cxnSpMk id="42" creationId="{86859C7E-7FD0-D7D3-97EE-D8740818B5EF}"/>
          </ac:cxnSpMkLst>
        </pc:cxnChg>
        <pc:cxnChg chg="add mod">
          <ac:chgData name="Iimura, Jinichi" userId="9e18df6b-b397-4f9f-a1c6-0abee7ae91a5" providerId="ADAL" clId="{BDA1215C-5EA2-458B-BFCC-3FD00F947048}" dt="2025-06-17T02:36:52.258" v="207" actId="1076"/>
          <ac:cxnSpMkLst>
            <pc:docMk/>
            <pc:sldMk cId="1859531097" sldId="2147476249"/>
            <ac:cxnSpMk id="43" creationId="{DD12EB4E-0D15-3098-CB9D-4B2325F7BD60}"/>
          </ac:cxnSpMkLst>
        </pc:cxnChg>
        <pc:cxnChg chg="add mod">
          <ac:chgData name="Iimura, Jinichi" userId="9e18df6b-b397-4f9f-a1c6-0abee7ae91a5" providerId="ADAL" clId="{BDA1215C-5EA2-458B-BFCC-3FD00F947048}" dt="2025-06-17T02:36:52.258" v="207" actId="1076"/>
          <ac:cxnSpMkLst>
            <pc:docMk/>
            <pc:sldMk cId="1859531097" sldId="2147476249"/>
            <ac:cxnSpMk id="44" creationId="{60CE68E1-BE05-80D2-8EB7-20022B79B704}"/>
          </ac:cxnSpMkLst>
        </pc:cxnChg>
        <pc:cxnChg chg="add mod">
          <ac:chgData name="Iimura, Jinichi" userId="9e18df6b-b397-4f9f-a1c6-0abee7ae91a5" providerId="ADAL" clId="{BDA1215C-5EA2-458B-BFCC-3FD00F947048}" dt="2025-06-17T02:36:52.258" v="207" actId="1076"/>
          <ac:cxnSpMkLst>
            <pc:docMk/>
            <pc:sldMk cId="1859531097" sldId="2147476249"/>
            <ac:cxnSpMk id="45" creationId="{A50974C0-3B4F-637F-EAEC-FC5DA5C83881}"/>
          </ac:cxnSpMkLst>
        </pc:cxnChg>
        <pc:cxnChg chg="add mod">
          <ac:chgData name="Iimura, Jinichi" userId="9e18df6b-b397-4f9f-a1c6-0abee7ae91a5" providerId="ADAL" clId="{BDA1215C-5EA2-458B-BFCC-3FD00F947048}" dt="2025-06-17T02:36:52.258" v="207" actId="1076"/>
          <ac:cxnSpMkLst>
            <pc:docMk/>
            <pc:sldMk cId="1859531097" sldId="2147476249"/>
            <ac:cxnSpMk id="46" creationId="{1ED8B4C6-B496-7772-D5C0-B7AD5058CF87}"/>
          </ac:cxnSpMkLst>
        </pc:cxnChg>
        <pc:cxnChg chg="add mod">
          <ac:chgData name="Iimura, Jinichi" userId="9e18df6b-b397-4f9f-a1c6-0abee7ae91a5" providerId="ADAL" clId="{BDA1215C-5EA2-458B-BFCC-3FD00F947048}" dt="2025-06-17T02:36:52.258" v="207" actId="1076"/>
          <ac:cxnSpMkLst>
            <pc:docMk/>
            <pc:sldMk cId="1859531097" sldId="2147476249"/>
            <ac:cxnSpMk id="47" creationId="{28D9DABA-8289-845C-D8E4-14295979FE98}"/>
          </ac:cxnSpMkLst>
        </pc:cxnChg>
        <pc:cxnChg chg="add mod">
          <ac:chgData name="Iimura, Jinichi" userId="9e18df6b-b397-4f9f-a1c6-0abee7ae91a5" providerId="ADAL" clId="{BDA1215C-5EA2-458B-BFCC-3FD00F947048}" dt="2025-06-17T02:36:52.258" v="207" actId="1076"/>
          <ac:cxnSpMkLst>
            <pc:docMk/>
            <pc:sldMk cId="1859531097" sldId="2147476249"/>
            <ac:cxnSpMk id="48" creationId="{3A69E3BD-B935-766C-40C5-6606D39A428D}"/>
          </ac:cxnSpMkLst>
        </pc:cxnChg>
        <pc:cxnChg chg="add mod">
          <ac:chgData name="Iimura, Jinichi" userId="9e18df6b-b397-4f9f-a1c6-0abee7ae91a5" providerId="ADAL" clId="{BDA1215C-5EA2-458B-BFCC-3FD00F947048}" dt="2025-06-17T02:36:52.258" v="207" actId="1076"/>
          <ac:cxnSpMkLst>
            <pc:docMk/>
            <pc:sldMk cId="1859531097" sldId="2147476249"/>
            <ac:cxnSpMk id="49" creationId="{179D155F-F825-C8EE-D3CA-14D67684FD78}"/>
          </ac:cxnSpMkLst>
        </pc:cxnChg>
        <pc:cxnChg chg="add del mod">
          <ac:chgData name="Iimura, Jinichi" userId="9e18df6b-b397-4f9f-a1c6-0abee7ae91a5" providerId="ADAL" clId="{BDA1215C-5EA2-458B-BFCC-3FD00F947048}" dt="2025-06-17T02:36:27.214" v="202" actId="478"/>
          <ac:cxnSpMkLst>
            <pc:docMk/>
            <pc:sldMk cId="1859531097" sldId="2147476249"/>
            <ac:cxnSpMk id="50" creationId="{C90B3787-65F8-52B8-C6E7-E813D838125D}"/>
          </ac:cxnSpMkLst>
        </pc:cxnChg>
        <pc:cxnChg chg="add mod">
          <ac:chgData name="Iimura, Jinichi" userId="9e18df6b-b397-4f9f-a1c6-0abee7ae91a5" providerId="ADAL" clId="{BDA1215C-5EA2-458B-BFCC-3FD00F947048}" dt="2025-06-17T02:36:52.258" v="207" actId="1076"/>
          <ac:cxnSpMkLst>
            <pc:docMk/>
            <pc:sldMk cId="1859531097" sldId="2147476249"/>
            <ac:cxnSpMk id="51" creationId="{3FF0DF12-3BFA-A0E3-B451-FDAC13264CEB}"/>
          </ac:cxnSpMkLst>
        </pc:cxnChg>
        <pc:cxnChg chg="add mod">
          <ac:chgData name="Iimura, Jinichi" userId="9e18df6b-b397-4f9f-a1c6-0abee7ae91a5" providerId="ADAL" clId="{BDA1215C-5EA2-458B-BFCC-3FD00F947048}" dt="2025-06-17T02:36:52.258" v="207" actId="1076"/>
          <ac:cxnSpMkLst>
            <pc:docMk/>
            <pc:sldMk cId="1859531097" sldId="2147476249"/>
            <ac:cxnSpMk id="52" creationId="{7F848AFA-307C-DFBA-E4B6-55ED1A5F9F3E}"/>
          </ac:cxnSpMkLst>
        </pc:cxnChg>
        <pc:cxnChg chg="add mod">
          <ac:chgData name="Iimura, Jinichi" userId="9e18df6b-b397-4f9f-a1c6-0abee7ae91a5" providerId="ADAL" clId="{BDA1215C-5EA2-458B-BFCC-3FD00F947048}" dt="2025-06-17T02:36:52.258" v="207" actId="1076"/>
          <ac:cxnSpMkLst>
            <pc:docMk/>
            <pc:sldMk cId="1859531097" sldId="2147476249"/>
            <ac:cxnSpMk id="53" creationId="{1F8EF0D7-25B6-B2B7-A0A3-65F999B4BBB4}"/>
          </ac:cxnSpMkLst>
        </pc:cxnChg>
        <pc:cxnChg chg="add mod">
          <ac:chgData name="Iimura, Jinichi" userId="9e18df6b-b397-4f9f-a1c6-0abee7ae91a5" providerId="ADAL" clId="{BDA1215C-5EA2-458B-BFCC-3FD00F947048}" dt="2025-06-17T02:36:52.258" v="207" actId="1076"/>
          <ac:cxnSpMkLst>
            <pc:docMk/>
            <pc:sldMk cId="1859531097" sldId="2147476249"/>
            <ac:cxnSpMk id="54" creationId="{8D8F976A-8A31-9743-FFFD-47DB879400C1}"/>
          </ac:cxnSpMkLst>
        </pc:cxnChg>
        <pc:cxnChg chg="add del mod">
          <ac:chgData name="Iimura, Jinichi" userId="9e18df6b-b397-4f9f-a1c6-0abee7ae91a5" providerId="ADAL" clId="{BDA1215C-5EA2-458B-BFCC-3FD00F947048}" dt="2025-06-17T02:36:03.280" v="197" actId="478"/>
          <ac:cxnSpMkLst>
            <pc:docMk/>
            <pc:sldMk cId="1859531097" sldId="2147476249"/>
            <ac:cxnSpMk id="55" creationId="{D96E9E63-E696-8FD2-A232-3BA842A4708C}"/>
          </ac:cxnSpMkLst>
        </pc:cxnChg>
        <pc:cxnChg chg="add del mod">
          <ac:chgData name="Iimura, Jinichi" userId="9e18df6b-b397-4f9f-a1c6-0abee7ae91a5" providerId="ADAL" clId="{BDA1215C-5EA2-458B-BFCC-3FD00F947048}" dt="2025-06-17T02:35:47.551" v="178" actId="478"/>
          <ac:cxnSpMkLst>
            <pc:docMk/>
            <pc:sldMk cId="1859531097" sldId="2147476249"/>
            <ac:cxnSpMk id="56" creationId="{B75F841D-2FEF-CEDE-BF64-8E4A93123B40}"/>
          </ac:cxnSpMkLst>
        </pc:cxnChg>
        <pc:cxnChg chg="add del mod">
          <ac:chgData name="Iimura, Jinichi" userId="9e18df6b-b397-4f9f-a1c6-0abee7ae91a5" providerId="ADAL" clId="{BDA1215C-5EA2-458B-BFCC-3FD00F947048}" dt="2025-06-17T02:40:37.896" v="212" actId="478"/>
          <ac:cxnSpMkLst>
            <pc:docMk/>
            <pc:sldMk cId="1859531097" sldId="2147476249"/>
            <ac:cxnSpMk id="58" creationId="{6B1AC600-F960-6D9D-9121-639444CD2CC8}"/>
          </ac:cxnSpMkLst>
        </pc:cxnChg>
        <pc:cxnChg chg="add mod">
          <ac:chgData name="Iimura, Jinichi" userId="9e18df6b-b397-4f9f-a1c6-0abee7ae91a5" providerId="ADAL" clId="{BDA1215C-5EA2-458B-BFCC-3FD00F947048}" dt="2025-06-17T02:36:52.258" v="207" actId="1076"/>
          <ac:cxnSpMkLst>
            <pc:docMk/>
            <pc:sldMk cId="1859531097" sldId="2147476249"/>
            <ac:cxnSpMk id="63" creationId="{3C7D80C4-514F-66F9-3983-5323B434EBE8}"/>
          </ac:cxnSpMkLst>
        </pc:cxnChg>
      </pc:sldChg>
      <pc:sldChg chg="new del">
        <pc:chgData name="Iimura, Jinichi" userId="9e18df6b-b397-4f9f-a1c6-0abee7ae91a5" providerId="ADAL" clId="{BDA1215C-5EA2-458B-BFCC-3FD00F947048}" dt="2025-06-17T02:33:51.003" v="170" actId="47"/>
        <pc:sldMkLst>
          <pc:docMk/>
          <pc:sldMk cId="2041932444" sldId="2147476250"/>
        </pc:sldMkLst>
      </pc:sldChg>
      <pc:sldChg chg="addSp modSp add del mod">
        <pc:chgData name="Iimura, Jinichi" userId="9e18df6b-b397-4f9f-a1c6-0abee7ae91a5" providerId="ADAL" clId="{BDA1215C-5EA2-458B-BFCC-3FD00F947048}" dt="2025-06-18T05:39:27.154" v="387" actId="47"/>
        <pc:sldMkLst>
          <pc:docMk/>
          <pc:sldMk cId="3446382289" sldId="2147476250"/>
        </pc:sldMkLst>
        <pc:graphicFrameChg chg="add mod">
          <ac:chgData name="Iimura, Jinichi" userId="9e18df6b-b397-4f9f-a1c6-0abee7ae91a5" providerId="ADAL" clId="{BDA1215C-5EA2-458B-BFCC-3FD00F947048}" dt="2025-06-18T05:33:26.459" v="311"/>
          <ac:graphicFrameMkLst>
            <pc:docMk/>
            <pc:sldMk cId="3446382289" sldId="2147476250"/>
            <ac:graphicFrameMk id="3" creationId="{E4C098B9-AFF0-8CE6-4013-147E5D591E6F}"/>
          </ac:graphicFrameMkLst>
        </pc:graphicFrameChg>
        <pc:graphicFrameChg chg="mod">
          <ac:chgData name="Iimura, Jinichi" userId="9e18df6b-b397-4f9f-a1c6-0abee7ae91a5" providerId="ADAL" clId="{BDA1215C-5EA2-458B-BFCC-3FD00F947048}" dt="2025-06-18T05:33:43.819" v="316"/>
          <ac:graphicFrameMkLst>
            <pc:docMk/>
            <pc:sldMk cId="3446382289" sldId="2147476250"/>
            <ac:graphicFrameMk id="7" creationId="{2A84D1DA-97ED-2719-33EF-A13650BDF72A}"/>
          </ac:graphicFrameMkLst>
        </pc:graphicFrameChg>
      </pc:sldChg>
      <pc:sldChg chg="addSp delSp modSp add mod">
        <pc:chgData name="Iimura, Jinichi" userId="9e18df6b-b397-4f9f-a1c6-0abee7ae91a5" providerId="ADAL" clId="{BDA1215C-5EA2-458B-BFCC-3FD00F947048}" dt="2025-06-18T05:33:33.798" v="312"/>
        <pc:sldMkLst>
          <pc:docMk/>
          <pc:sldMk cId="714483222" sldId="2147476251"/>
        </pc:sldMkLst>
        <pc:spChg chg="del">
          <ac:chgData name="Iimura, Jinichi" userId="9e18df6b-b397-4f9f-a1c6-0abee7ae91a5" providerId="ADAL" clId="{BDA1215C-5EA2-458B-BFCC-3FD00F947048}" dt="2025-06-17T03:34:03.555" v="262" actId="478"/>
          <ac:spMkLst>
            <pc:docMk/>
            <pc:sldMk cId="714483222" sldId="2147476251"/>
            <ac:spMk id="2" creationId="{3B84560E-C9F3-C336-7F55-25F16E12EAD5}"/>
          </ac:spMkLst>
        </pc:spChg>
        <pc:spChg chg="del">
          <ac:chgData name="Iimura, Jinichi" userId="9e18df6b-b397-4f9f-a1c6-0abee7ae91a5" providerId="ADAL" clId="{BDA1215C-5EA2-458B-BFCC-3FD00F947048}" dt="2025-06-17T03:34:03.555" v="262" actId="478"/>
          <ac:spMkLst>
            <pc:docMk/>
            <pc:sldMk cId="714483222" sldId="2147476251"/>
            <ac:spMk id="11" creationId="{0EC7281E-A90C-3C15-49DE-D55E499FAA99}"/>
          </ac:spMkLst>
        </pc:spChg>
        <pc:spChg chg="del">
          <ac:chgData name="Iimura, Jinichi" userId="9e18df6b-b397-4f9f-a1c6-0abee7ae91a5" providerId="ADAL" clId="{BDA1215C-5EA2-458B-BFCC-3FD00F947048}" dt="2025-06-17T03:34:03.555" v="262" actId="478"/>
          <ac:spMkLst>
            <pc:docMk/>
            <pc:sldMk cId="714483222" sldId="2147476251"/>
            <ac:spMk id="12" creationId="{FA7B8201-B10C-CA15-B4C9-D60A9EC79CD8}"/>
          </ac:spMkLst>
        </pc:spChg>
        <pc:spChg chg="del">
          <ac:chgData name="Iimura, Jinichi" userId="9e18df6b-b397-4f9f-a1c6-0abee7ae91a5" providerId="ADAL" clId="{BDA1215C-5EA2-458B-BFCC-3FD00F947048}" dt="2025-06-17T03:34:03.555" v="262" actId="478"/>
          <ac:spMkLst>
            <pc:docMk/>
            <pc:sldMk cId="714483222" sldId="2147476251"/>
            <ac:spMk id="13" creationId="{FF7658A8-B13E-BC20-5F6A-5892E86FFA86}"/>
          </ac:spMkLst>
        </pc:spChg>
        <pc:spChg chg="del">
          <ac:chgData name="Iimura, Jinichi" userId="9e18df6b-b397-4f9f-a1c6-0abee7ae91a5" providerId="ADAL" clId="{BDA1215C-5EA2-458B-BFCC-3FD00F947048}" dt="2025-06-17T03:34:03.555" v="262" actId="478"/>
          <ac:spMkLst>
            <pc:docMk/>
            <pc:sldMk cId="714483222" sldId="2147476251"/>
            <ac:spMk id="15" creationId="{F599A748-211D-BB62-0D32-D176DAF953E6}"/>
          </ac:spMkLst>
        </pc:spChg>
        <pc:spChg chg="del">
          <ac:chgData name="Iimura, Jinichi" userId="9e18df6b-b397-4f9f-a1c6-0abee7ae91a5" providerId="ADAL" clId="{BDA1215C-5EA2-458B-BFCC-3FD00F947048}" dt="2025-06-17T03:34:03.555" v="262" actId="478"/>
          <ac:spMkLst>
            <pc:docMk/>
            <pc:sldMk cId="714483222" sldId="2147476251"/>
            <ac:spMk id="17" creationId="{BA9954D5-4C47-C33D-F417-D7C272E45BE3}"/>
          </ac:spMkLst>
        </pc:spChg>
        <pc:spChg chg="del">
          <ac:chgData name="Iimura, Jinichi" userId="9e18df6b-b397-4f9f-a1c6-0abee7ae91a5" providerId="ADAL" clId="{BDA1215C-5EA2-458B-BFCC-3FD00F947048}" dt="2025-06-17T03:34:03.555" v="262" actId="478"/>
          <ac:spMkLst>
            <pc:docMk/>
            <pc:sldMk cId="714483222" sldId="2147476251"/>
            <ac:spMk id="18" creationId="{B85305EE-5993-8388-4926-229A068A2D47}"/>
          </ac:spMkLst>
        </pc:spChg>
        <pc:spChg chg="del">
          <ac:chgData name="Iimura, Jinichi" userId="9e18df6b-b397-4f9f-a1c6-0abee7ae91a5" providerId="ADAL" clId="{BDA1215C-5EA2-458B-BFCC-3FD00F947048}" dt="2025-06-17T03:34:03.555" v="262" actId="478"/>
          <ac:spMkLst>
            <pc:docMk/>
            <pc:sldMk cId="714483222" sldId="2147476251"/>
            <ac:spMk id="19" creationId="{2D4A9EF6-BEA3-935F-979C-C6DF0B046C0F}"/>
          </ac:spMkLst>
        </pc:spChg>
        <pc:spChg chg="del">
          <ac:chgData name="Iimura, Jinichi" userId="9e18df6b-b397-4f9f-a1c6-0abee7ae91a5" providerId="ADAL" clId="{BDA1215C-5EA2-458B-BFCC-3FD00F947048}" dt="2025-06-17T03:34:03.555" v="262" actId="478"/>
          <ac:spMkLst>
            <pc:docMk/>
            <pc:sldMk cId="714483222" sldId="2147476251"/>
            <ac:spMk id="20" creationId="{0EE6FFC3-6B6E-F000-CBEC-61DC2965F598}"/>
          </ac:spMkLst>
        </pc:spChg>
        <pc:spChg chg="del">
          <ac:chgData name="Iimura, Jinichi" userId="9e18df6b-b397-4f9f-a1c6-0abee7ae91a5" providerId="ADAL" clId="{BDA1215C-5EA2-458B-BFCC-3FD00F947048}" dt="2025-06-17T03:34:03.555" v="262" actId="478"/>
          <ac:spMkLst>
            <pc:docMk/>
            <pc:sldMk cId="714483222" sldId="2147476251"/>
            <ac:spMk id="21" creationId="{D5F377DA-8991-CBD9-DEB2-C631C5821F08}"/>
          </ac:spMkLst>
        </pc:spChg>
        <pc:spChg chg="del">
          <ac:chgData name="Iimura, Jinichi" userId="9e18df6b-b397-4f9f-a1c6-0abee7ae91a5" providerId="ADAL" clId="{BDA1215C-5EA2-458B-BFCC-3FD00F947048}" dt="2025-06-17T03:34:03.555" v="262" actId="478"/>
          <ac:spMkLst>
            <pc:docMk/>
            <pc:sldMk cId="714483222" sldId="2147476251"/>
            <ac:spMk id="31" creationId="{DE966954-9564-D27C-51EC-66F29A0A4069}"/>
          </ac:spMkLst>
        </pc:spChg>
        <pc:spChg chg="del">
          <ac:chgData name="Iimura, Jinichi" userId="9e18df6b-b397-4f9f-a1c6-0abee7ae91a5" providerId="ADAL" clId="{BDA1215C-5EA2-458B-BFCC-3FD00F947048}" dt="2025-06-17T03:34:03.555" v="262" actId="478"/>
          <ac:spMkLst>
            <pc:docMk/>
            <pc:sldMk cId="714483222" sldId="2147476251"/>
            <ac:spMk id="32" creationId="{20F21351-0918-6AF4-6B7C-D00F092C806B}"/>
          </ac:spMkLst>
        </pc:spChg>
        <pc:spChg chg="del">
          <ac:chgData name="Iimura, Jinichi" userId="9e18df6b-b397-4f9f-a1c6-0abee7ae91a5" providerId="ADAL" clId="{BDA1215C-5EA2-458B-BFCC-3FD00F947048}" dt="2025-06-17T03:34:03.555" v="262" actId="478"/>
          <ac:spMkLst>
            <pc:docMk/>
            <pc:sldMk cId="714483222" sldId="2147476251"/>
            <ac:spMk id="33" creationId="{7727D9AC-836F-C7BB-77FC-41D54F08FE8E}"/>
          </ac:spMkLst>
        </pc:spChg>
        <pc:spChg chg="del">
          <ac:chgData name="Iimura, Jinichi" userId="9e18df6b-b397-4f9f-a1c6-0abee7ae91a5" providerId="ADAL" clId="{BDA1215C-5EA2-458B-BFCC-3FD00F947048}" dt="2025-06-17T03:34:03.555" v="262" actId="478"/>
          <ac:spMkLst>
            <pc:docMk/>
            <pc:sldMk cId="714483222" sldId="2147476251"/>
            <ac:spMk id="34" creationId="{77FECD65-87E2-0B9C-7FBB-C770303D75EF}"/>
          </ac:spMkLst>
        </pc:spChg>
        <pc:spChg chg="del">
          <ac:chgData name="Iimura, Jinichi" userId="9e18df6b-b397-4f9f-a1c6-0abee7ae91a5" providerId="ADAL" clId="{BDA1215C-5EA2-458B-BFCC-3FD00F947048}" dt="2025-06-17T03:34:03.555" v="262" actId="478"/>
          <ac:spMkLst>
            <pc:docMk/>
            <pc:sldMk cId="714483222" sldId="2147476251"/>
            <ac:spMk id="35" creationId="{EB859FA2-D846-36FC-D426-A73BED3983E8}"/>
          </ac:spMkLst>
        </pc:spChg>
        <pc:spChg chg="del">
          <ac:chgData name="Iimura, Jinichi" userId="9e18df6b-b397-4f9f-a1c6-0abee7ae91a5" providerId="ADAL" clId="{BDA1215C-5EA2-458B-BFCC-3FD00F947048}" dt="2025-06-17T03:34:03.555" v="262" actId="478"/>
          <ac:spMkLst>
            <pc:docMk/>
            <pc:sldMk cId="714483222" sldId="2147476251"/>
            <ac:spMk id="36" creationId="{1B34CB90-071C-E8FD-1117-55BB62DB41DE}"/>
          </ac:spMkLst>
        </pc:spChg>
        <pc:spChg chg="del">
          <ac:chgData name="Iimura, Jinichi" userId="9e18df6b-b397-4f9f-a1c6-0abee7ae91a5" providerId="ADAL" clId="{BDA1215C-5EA2-458B-BFCC-3FD00F947048}" dt="2025-06-17T03:34:03.555" v="262" actId="478"/>
          <ac:spMkLst>
            <pc:docMk/>
            <pc:sldMk cId="714483222" sldId="2147476251"/>
            <ac:spMk id="37" creationId="{995E6EA0-F358-2E15-0B64-98DC7673CE24}"/>
          </ac:spMkLst>
        </pc:spChg>
        <pc:spChg chg="del">
          <ac:chgData name="Iimura, Jinichi" userId="9e18df6b-b397-4f9f-a1c6-0abee7ae91a5" providerId="ADAL" clId="{BDA1215C-5EA2-458B-BFCC-3FD00F947048}" dt="2025-06-17T03:34:03.555" v="262" actId="478"/>
          <ac:spMkLst>
            <pc:docMk/>
            <pc:sldMk cId="714483222" sldId="2147476251"/>
            <ac:spMk id="38" creationId="{CFBD0683-8EAD-1253-5903-436794324D63}"/>
          </ac:spMkLst>
        </pc:spChg>
        <pc:spChg chg="mod">
          <ac:chgData name="Iimura, Jinichi" userId="9e18df6b-b397-4f9f-a1c6-0abee7ae91a5" providerId="ADAL" clId="{BDA1215C-5EA2-458B-BFCC-3FD00F947048}" dt="2025-06-17T03:34:06.317" v="263" actId="1076"/>
          <ac:spMkLst>
            <pc:docMk/>
            <pc:sldMk cId="714483222" sldId="2147476251"/>
            <ac:spMk id="66" creationId="{8A339021-7014-D902-DAE4-712C3FA18771}"/>
          </ac:spMkLst>
        </pc:spChg>
        <pc:graphicFrameChg chg="add mod">
          <ac:chgData name="Iimura, Jinichi" userId="9e18df6b-b397-4f9f-a1c6-0abee7ae91a5" providerId="ADAL" clId="{BDA1215C-5EA2-458B-BFCC-3FD00F947048}" dt="2025-06-18T05:27:06.922" v="264"/>
          <ac:graphicFrameMkLst>
            <pc:docMk/>
            <pc:sldMk cId="714483222" sldId="2147476251"/>
            <ac:graphicFrameMk id="2" creationId="{F1B39FFD-0091-7E5A-8B75-CE0B0D0758E1}"/>
          </ac:graphicFrameMkLst>
        </pc:graphicFrameChg>
        <pc:graphicFrameChg chg="add mod">
          <ac:chgData name="Iimura, Jinichi" userId="9e18df6b-b397-4f9f-a1c6-0abee7ae91a5" providerId="ADAL" clId="{BDA1215C-5EA2-458B-BFCC-3FD00F947048}" dt="2025-06-18T05:27:10.334" v="265"/>
          <ac:graphicFrameMkLst>
            <pc:docMk/>
            <pc:sldMk cId="714483222" sldId="2147476251"/>
            <ac:graphicFrameMk id="3" creationId="{A4E43284-57D5-B177-675E-BBDFD96678C7}"/>
          </ac:graphicFrameMkLst>
        </pc:graphicFrameChg>
        <pc:graphicFrameChg chg="add mod">
          <ac:chgData name="Iimura, Jinichi" userId="9e18df6b-b397-4f9f-a1c6-0abee7ae91a5" providerId="ADAL" clId="{BDA1215C-5EA2-458B-BFCC-3FD00F947048}" dt="2025-06-18T05:33:33.798" v="312"/>
          <ac:graphicFrameMkLst>
            <pc:docMk/>
            <pc:sldMk cId="714483222" sldId="2147476251"/>
            <ac:graphicFrameMk id="5" creationId="{E3135C85-B696-CB76-9412-1E4C6A6B5423}"/>
          </ac:graphicFrameMkLst>
        </pc:graphicFrameChg>
        <pc:cxnChg chg="del mod">
          <ac:chgData name="Iimura, Jinichi" userId="9e18df6b-b397-4f9f-a1c6-0abee7ae91a5" providerId="ADAL" clId="{BDA1215C-5EA2-458B-BFCC-3FD00F947048}" dt="2025-06-17T03:34:03.555" v="262" actId="478"/>
          <ac:cxnSpMkLst>
            <pc:docMk/>
            <pc:sldMk cId="714483222" sldId="2147476251"/>
            <ac:cxnSpMk id="14" creationId="{F10F571C-D0AD-66FE-3042-772090E4B0EA}"/>
          </ac:cxnSpMkLst>
        </pc:cxnChg>
        <pc:cxnChg chg="del mod">
          <ac:chgData name="Iimura, Jinichi" userId="9e18df6b-b397-4f9f-a1c6-0abee7ae91a5" providerId="ADAL" clId="{BDA1215C-5EA2-458B-BFCC-3FD00F947048}" dt="2025-06-17T03:34:03.555" v="262" actId="478"/>
          <ac:cxnSpMkLst>
            <pc:docMk/>
            <pc:sldMk cId="714483222" sldId="2147476251"/>
            <ac:cxnSpMk id="16" creationId="{D3294AEF-132B-EEC9-8CDD-F9A9B3615206}"/>
          </ac:cxnSpMkLst>
        </pc:cxnChg>
        <pc:cxnChg chg="del mod">
          <ac:chgData name="Iimura, Jinichi" userId="9e18df6b-b397-4f9f-a1c6-0abee7ae91a5" providerId="ADAL" clId="{BDA1215C-5EA2-458B-BFCC-3FD00F947048}" dt="2025-06-17T03:34:03.555" v="262" actId="478"/>
          <ac:cxnSpMkLst>
            <pc:docMk/>
            <pc:sldMk cId="714483222" sldId="2147476251"/>
            <ac:cxnSpMk id="22" creationId="{026C6372-24E8-0C75-95F0-EC532F87C8E3}"/>
          </ac:cxnSpMkLst>
        </pc:cxnChg>
        <pc:cxnChg chg="del mod">
          <ac:chgData name="Iimura, Jinichi" userId="9e18df6b-b397-4f9f-a1c6-0abee7ae91a5" providerId="ADAL" clId="{BDA1215C-5EA2-458B-BFCC-3FD00F947048}" dt="2025-06-17T03:34:03.555" v="262" actId="478"/>
          <ac:cxnSpMkLst>
            <pc:docMk/>
            <pc:sldMk cId="714483222" sldId="2147476251"/>
            <ac:cxnSpMk id="23" creationId="{C1CFC255-D82A-A91C-58F4-D31F804F78FB}"/>
          </ac:cxnSpMkLst>
        </pc:cxnChg>
        <pc:cxnChg chg="del mod">
          <ac:chgData name="Iimura, Jinichi" userId="9e18df6b-b397-4f9f-a1c6-0abee7ae91a5" providerId="ADAL" clId="{BDA1215C-5EA2-458B-BFCC-3FD00F947048}" dt="2025-06-17T03:34:03.555" v="262" actId="478"/>
          <ac:cxnSpMkLst>
            <pc:docMk/>
            <pc:sldMk cId="714483222" sldId="2147476251"/>
            <ac:cxnSpMk id="24" creationId="{CC0F81B0-F524-0017-82F0-75A932D3C179}"/>
          </ac:cxnSpMkLst>
        </pc:cxnChg>
        <pc:cxnChg chg="del mod">
          <ac:chgData name="Iimura, Jinichi" userId="9e18df6b-b397-4f9f-a1c6-0abee7ae91a5" providerId="ADAL" clId="{BDA1215C-5EA2-458B-BFCC-3FD00F947048}" dt="2025-06-17T03:34:03.555" v="262" actId="478"/>
          <ac:cxnSpMkLst>
            <pc:docMk/>
            <pc:sldMk cId="714483222" sldId="2147476251"/>
            <ac:cxnSpMk id="40" creationId="{E14BAE8A-E2AC-2C03-DC57-8EEEC2BDEA74}"/>
          </ac:cxnSpMkLst>
        </pc:cxnChg>
        <pc:cxnChg chg="del mod">
          <ac:chgData name="Iimura, Jinichi" userId="9e18df6b-b397-4f9f-a1c6-0abee7ae91a5" providerId="ADAL" clId="{BDA1215C-5EA2-458B-BFCC-3FD00F947048}" dt="2025-06-17T03:34:03.555" v="262" actId="478"/>
          <ac:cxnSpMkLst>
            <pc:docMk/>
            <pc:sldMk cId="714483222" sldId="2147476251"/>
            <ac:cxnSpMk id="41" creationId="{5326B0FD-9676-0F12-3BF3-127EDECF4DEE}"/>
          </ac:cxnSpMkLst>
        </pc:cxnChg>
        <pc:cxnChg chg="del mod">
          <ac:chgData name="Iimura, Jinichi" userId="9e18df6b-b397-4f9f-a1c6-0abee7ae91a5" providerId="ADAL" clId="{BDA1215C-5EA2-458B-BFCC-3FD00F947048}" dt="2025-06-17T03:34:03.555" v="262" actId="478"/>
          <ac:cxnSpMkLst>
            <pc:docMk/>
            <pc:sldMk cId="714483222" sldId="2147476251"/>
            <ac:cxnSpMk id="42" creationId="{86859C7E-7FD0-D7D3-97EE-D8740818B5EF}"/>
          </ac:cxnSpMkLst>
        </pc:cxnChg>
        <pc:cxnChg chg="del mod">
          <ac:chgData name="Iimura, Jinichi" userId="9e18df6b-b397-4f9f-a1c6-0abee7ae91a5" providerId="ADAL" clId="{BDA1215C-5EA2-458B-BFCC-3FD00F947048}" dt="2025-06-17T03:34:03.555" v="262" actId="478"/>
          <ac:cxnSpMkLst>
            <pc:docMk/>
            <pc:sldMk cId="714483222" sldId="2147476251"/>
            <ac:cxnSpMk id="43" creationId="{DD12EB4E-0D15-3098-CB9D-4B2325F7BD60}"/>
          </ac:cxnSpMkLst>
        </pc:cxnChg>
        <pc:cxnChg chg="del mod">
          <ac:chgData name="Iimura, Jinichi" userId="9e18df6b-b397-4f9f-a1c6-0abee7ae91a5" providerId="ADAL" clId="{BDA1215C-5EA2-458B-BFCC-3FD00F947048}" dt="2025-06-17T03:34:03.555" v="262" actId="478"/>
          <ac:cxnSpMkLst>
            <pc:docMk/>
            <pc:sldMk cId="714483222" sldId="2147476251"/>
            <ac:cxnSpMk id="44" creationId="{60CE68E1-BE05-80D2-8EB7-20022B79B704}"/>
          </ac:cxnSpMkLst>
        </pc:cxnChg>
        <pc:cxnChg chg="del mod">
          <ac:chgData name="Iimura, Jinichi" userId="9e18df6b-b397-4f9f-a1c6-0abee7ae91a5" providerId="ADAL" clId="{BDA1215C-5EA2-458B-BFCC-3FD00F947048}" dt="2025-06-17T03:34:03.555" v="262" actId="478"/>
          <ac:cxnSpMkLst>
            <pc:docMk/>
            <pc:sldMk cId="714483222" sldId="2147476251"/>
            <ac:cxnSpMk id="45" creationId="{A50974C0-3B4F-637F-EAEC-FC5DA5C83881}"/>
          </ac:cxnSpMkLst>
        </pc:cxnChg>
        <pc:cxnChg chg="del mod">
          <ac:chgData name="Iimura, Jinichi" userId="9e18df6b-b397-4f9f-a1c6-0abee7ae91a5" providerId="ADAL" clId="{BDA1215C-5EA2-458B-BFCC-3FD00F947048}" dt="2025-06-17T03:34:03.555" v="262" actId="478"/>
          <ac:cxnSpMkLst>
            <pc:docMk/>
            <pc:sldMk cId="714483222" sldId="2147476251"/>
            <ac:cxnSpMk id="46" creationId="{1ED8B4C6-B496-7772-D5C0-B7AD5058CF87}"/>
          </ac:cxnSpMkLst>
        </pc:cxnChg>
        <pc:cxnChg chg="del mod">
          <ac:chgData name="Iimura, Jinichi" userId="9e18df6b-b397-4f9f-a1c6-0abee7ae91a5" providerId="ADAL" clId="{BDA1215C-5EA2-458B-BFCC-3FD00F947048}" dt="2025-06-17T03:34:03.555" v="262" actId="478"/>
          <ac:cxnSpMkLst>
            <pc:docMk/>
            <pc:sldMk cId="714483222" sldId="2147476251"/>
            <ac:cxnSpMk id="47" creationId="{28D9DABA-8289-845C-D8E4-14295979FE98}"/>
          </ac:cxnSpMkLst>
        </pc:cxnChg>
        <pc:cxnChg chg="del mod">
          <ac:chgData name="Iimura, Jinichi" userId="9e18df6b-b397-4f9f-a1c6-0abee7ae91a5" providerId="ADAL" clId="{BDA1215C-5EA2-458B-BFCC-3FD00F947048}" dt="2025-06-17T03:34:03.555" v="262" actId="478"/>
          <ac:cxnSpMkLst>
            <pc:docMk/>
            <pc:sldMk cId="714483222" sldId="2147476251"/>
            <ac:cxnSpMk id="48" creationId="{3A69E3BD-B935-766C-40C5-6606D39A428D}"/>
          </ac:cxnSpMkLst>
        </pc:cxnChg>
        <pc:cxnChg chg="del mod">
          <ac:chgData name="Iimura, Jinichi" userId="9e18df6b-b397-4f9f-a1c6-0abee7ae91a5" providerId="ADAL" clId="{BDA1215C-5EA2-458B-BFCC-3FD00F947048}" dt="2025-06-17T03:34:03.555" v="262" actId="478"/>
          <ac:cxnSpMkLst>
            <pc:docMk/>
            <pc:sldMk cId="714483222" sldId="2147476251"/>
            <ac:cxnSpMk id="49" creationId="{179D155F-F825-C8EE-D3CA-14D67684FD78}"/>
          </ac:cxnSpMkLst>
        </pc:cxnChg>
        <pc:cxnChg chg="del mod">
          <ac:chgData name="Iimura, Jinichi" userId="9e18df6b-b397-4f9f-a1c6-0abee7ae91a5" providerId="ADAL" clId="{BDA1215C-5EA2-458B-BFCC-3FD00F947048}" dt="2025-06-17T03:34:03.555" v="262" actId="478"/>
          <ac:cxnSpMkLst>
            <pc:docMk/>
            <pc:sldMk cId="714483222" sldId="2147476251"/>
            <ac:cxnSpMk id="51" creationId="{3FF0DF12-3BFA-A0E3-B451-FDAC13264CEB}"/>
          </ac:cxnSpMkLst>
        </pc:cxnChg>
        <pc:cxnChg chg="del mod">
          <ac:chgData name="Iimura, Jinichi" userId="9e18df6b-b397-4f9f-a1c6-0abee7ae91a5" providerId="ADAL" clId="{BDA1215C-5EA2-458B-BFCC-3FD00F947048}" dt="2025-06-17T03:34:03.555" v="262" actId="478"/>
          <ac:cxnSpMkLst>
            <pc:docMk/>
            <pc:sldMk cId="714483222" sldId="2147476251"/>
            <ac:cxnSpMk id="52" creationId="{7F848AFA-307C-DFBA-E4B6-55ED1A5F9F3E}"/>
          </ac:cxnSpMkLst>
        </pc:cxnChg>
        <pc:cxnChg chg="del mod">
          <ac:chgData name="Iimura, Jinichi" userId="9e18df6b-b397-4f9f-a1c6-0abee7ae91a5" providerId="ADAL" clId="{BDA1215C-5EA2-458B-BFCC-3FD00F947048}" dt="2025-06-17T03:34:03.555" v="262" actId="478"/>
          <ac:cxnSpMkLst>
            <pc:docMk/>
            <pc:sldMk cId="714483222" sldId="2147476251"/>
            <ac:cxnSpMk id="53" creationId="{1F8EF0D7-25B6-B2B7-A0A3-65F999B4BBB4}"/>
          </ac:cxnSpMkLst>
        </pc:cxnChg>
        <pc:cxnChg chg="del mod">
          <ac:chgData name="Iimura, Jinichi" userId="9e18df6b-b397-4f9f-a1c6-0abee7ae91a5" providerId="ADAL" clId="{BDA1215C-5EA2-458B-BFCC-3FD00F947048}" dt="2025-06-17T03:34:03.555" v="262" actId="478"/>
          <ac:cxnSpMkLst>
            <pc:docMk/>
            <pc:sldMk cId="714483222" sldId="2147476251"/>
            <ac:cxnSpMk id="54" creationId="{8D8F976A-8A31-9743-FFFD-47DB879400C1}"/>
          </ac:cxnSpMkLst>
        </pc:cxnChg>
        <pc:cxnChg chg="del mod">
          <ac:chgData name="Iimura, Jinichi" userId="9e18df6b-b397-4f9f-a1c6-0abee7ae91a5" providerId="ADAL" clId="{BDA1215C-5EA2-458B-BFCC-3FD00F947048}" dt="2025-06-17T03:34:03.555" v="262" actId="478"/>
          <ac:cxnSpMkLst>
            <pc:docMk/>
            <pc:sldMk cId="714483222" sldId="2147476251"/>
            <ac:cxnSpMk id="63" creationId="{3C7D80C4-514F-66F9-3983-5323B434EBE8}"/>
          </ac:cxnSpMkLst>
        </pc:cxnChg>
      </pc:sldChg>
    </pc:docChg>
  </pc:docChgLst>
  <pc:docChgLst>
    <pc:chgData name="Iimura, Jinichi" userId="9e18df6b-b397-4f9f-a1c6-0abee7ae91a5" providerId="ADAL" clId="{726FB6BE-D1C6-4813-8D94-40139AC207BD}"/>
    <pc:docChg chg="addSld delSld modSection">
      <pc:chgData name="Iimura, Jinichi" userId="9e18df6b-b397-4f9f-a1c6-0abee7ae91a5" providerId="ADAL" clId="{726FB6BE-D1C6-4813-8D94-40139AC207BD}" dt="2025-06-27T03:58:57.731" v="1" actId="47"/>
      <pc:docMkLst>
        <pc:docMk/>
      </pc:docMkLst>
      <pc:sldChg chg="new del">
        <pc:chgData name="Iimura, Jinichi" userId="9e18df6b-b397-4f9f-a1c6-0abee7ae91a5" providerId="ADAL" clId="{726FB6BE-D1C6-4813-8D94-40139AC207BD}" dt="2025-06-27T03:58:57.731" v="1" actId="47"/>
        <pc:sldMkLst>
          <pc:docMk/>
          <pc:sldMk cId="1361475636" sldId="2147476252"/>
        </pc:sldMkLst>
      </pc:sldChg>
    </pc:docChg>
  </pc:docChgLst>
  <pc:docChgLst>
    <pc:chgData name="Yoshikawa, Naoki" userId="6011425b-4330-4998-8b24-3cf6edc0f551" providerId="ADAL" clId="{7A5D17D0-35FA-4A21-9DD0-702B2EB55EB1}"/>
    <pc:docChg chg="custSel addSld modSld sldOrd addSection modSection">
      <pc:chgData name="Yoshikawa, Naoki" userId="6011425b-4330-4998-8b24-3cf6edc0f551" providerId="ADAL" clId="{7A5D17D0-35FA-4A21-9DD0-702B2EB55EB1}" dt="2025-06-29T23:59:10.385" v="61" actId="20577"/>
      <pc:docMkLst>
        <pc:docMk/>
      </pc:docMkLst>
      <pc:sldChg chg="addSp modSp new mod ord">
        <pc:chgData name="Yoshikawa, Naoki" userId="6011425b-4330-4998-8b24-3cf6edc0f551" providerId="ADAL" clId="{7A5D17D0-35FA-4A21-9DD0-702B2EB55EB1}" dt="2025-06-29T23:58:14.457" v="59" actId="1076"/>
        <pc:sldMkLst>
          <pc:docMk/>
          <pc:sldMk cId="3924730848" sldId="2147476252"/>
        </pc:sldMkLst>
        <pc:spChg chg="mod">
          <ac:chgData name="Yoshikawa, Naoki" userId="6011425b-4330-4998-8b24-3cf6edc0f551" providerId="ADAL" clId="{7A5D17D0-35FA-4A21-9DD0-702B2EB55EB1}" dt="2025-06-29T23:55:29.713" v="22" actId="255"/>
          <ac:spMkLst>
            <pc:docMk/>
            <pc:sldMk cId="3924730848" sldId="2147476252"/>
            <ac:spMk id="3" creationId="{1E34451F-92DA-79B3-D1F0-D2B52A45005B}"/>
          </ac:spMkLst>
        </pc:spChg>
        <pc:spChg chg="mod">
          <ac:chgData name="Yoshikawa, Naoki" userId="6011425b-4330-4998-8b24-3cf6edc0f551" providerId="ADAL" clId="{7A5D17D0-35FA-4A21-9DD0-702B2EB55EB1}" dt="2025-06-29T23:53:50.563" v="7" actId="20577"/>
          <ac:spMkLst>
            <pc:docMk/>
            <pc:sldMk cId="3924730848" sldId="2147476252"/>
            <ac:spMk id="4" creationId="{20240A8E-9B73-AE5A-5D61-C7E42CFDAB6C}"/>
          </ac:spMkLst>
        </pc:spChg>
        <pc:spChg chg="add mod">
          <ac:chgData name="Yoshikawa, Naoki" userId="6011425b-4330-4998-8b24-3cf6edc0f551" providerId="ADAL" clId="{7A5D17D0-35FA-4A21-9DD0-702B2EB55EB1}" dt="2025-06-29T23:58:14.457" v="59" actId="1076"/>
          <ac:spMkLst>
            <pc:docMk/>
            <pc:sldMk cId="3924730848" sldId="2147476252"/>
            <ac:spMk id="5" creationId="{B99A84EC-AF64-DC0F-EFD5-105E9587412B}"/>
          </ac:spMkLst>
        </pc:spChg>
      </pc:sldChg>
      <pc:sldChg chg="addSp modSp add mod">
        <pc:chgData name="Yoshikawa, Naoki" userId="6011425b-4330-4998-8b24-3cf6edc0f551" providerId="ADAL" clId="{7A5D17D0-35FA-4A21-9DD0-702B2EB55EB1}" dt="2025-06-29T23:59:10.385" v="61" actId="20577"/>
        <pc:sldMkLst>
          <pc:docMk/>
          <pc:sldMk cId="332745846" sldId="2147476253"/>
        </pc:sldMkLst>
        <pc:spChg chg="mod">
          <ac:chgData name="Yoshikawa, Naoki" userId="6011425b-4330-4998-8b24-3cf6edc0f551" providerId="ADAL" clId="{7A5D17D0-35FA-4A21-9DD0-702B2EB55EB1}" dt="2025-06-29T23:59:10.385" v="61" actId="20577"/>
          <ac:spMkLst>
            <pc:docMk/>
            <pc:sldMk cId="332745846" sldId="2147476253"/>
            <ac:spMk id="3" creationId="{1E34451F-92DA-79B3-D1F0-D2B52A45005B}"/>
          </ac:spMkLst>
        </pc:spChg>
        <pc:spChg chg="add mod">
          <ac:chgData name="Yoshikawa, Naoki" userId="6011425b-4330-4998-8b24-3cf6edc0f551" providerId="ADAL" clId="{7A5D17D0-35FA-4A21-9DD0-702B2EB55EB1}" dt="2025-06-29T23:55:36.251" v="23"/>
          <ac:spMkLst>
            <pc:docMk/>
            <pc:sldMk cId="332745846" sldId="2147476253"/>
            <ac:spMk id="6" creationId="{D4DBD534-3940-4AD1-C069-88230F0FE5EB}"/>
          </ac:spMkLst>
        </pc:spChg>
        <pc:spChg chg="add mod">
          <ac:chgData name="Yoshikawa, Naoki" userId="6011425b-4330-4998-8b24-3cf6edc0f551" providerId="ADAL" clId="{7A5D17D0-35FA-4A21-9DD0-702B2EB55EB1}" dt="2025-06-29T23:58:06.823" v="57" actId="14100"/>
          <ac:spMkLst>
            <pc:docMk/>
            <pc:sldMk cId="332745846" sldId="2147476253"/>
            <ac:spMk id="7" creationId="{38372D03-F86A-E667-11DE-849E304A9E2F}"/>
          </ac:spMkLst>
        </pc:spChg>
        <pc:spChg chg="add mod">
          <ac:chgData name="Yoshikawa, Naoki" userId="6011425b-4330-4998-8b24-3cf6edc0f551" providerId="ADAL" clId="{7A5D17D0-35FA-4A21-9DD0-702B2EB55EB1}" dt="2025-06-29T23:58:04.628" v="56" actId="1076"/>
          <ac:spMkLst>
            <pc:docMk/>
            <pc:sldMk cId="332745846" sldId="2147476253"/>
            <ac:spMk id="8" creationId="{8CF970CC-1588-1243-3975-78EFC825FCDC}"/>
          </ac:spMkLst>
        </pc:spChg>
        <pc:graphicFrameChg chg="add mod">
          <ac:chgData name="Yoshikawa, Naoki" userId="6011425b-4330-4998-8b24-3cf6edc0f551" providerId="ADAL" clId="{7A5D17D0-35FA-4A21-9DD0-702B2EB55EB1}" dt="2025-06-29T23:55:36.251" v="23"/>
          <ac:graphicFrameMkLst>
            <pc:docMk/>
            <pc:sldMk cId="332745846" sldId="2147476253"/>
            <ac:graphicFrameMk id="5" creationId="{EA01B522-4EE6-2275-D48D-E6B1815F9A2A}"/>
          </ac:graphicFrameMkLst>
        </pc:graphicFrameChg>
      </pc:sldChg>
      <pc:sldChg chg="addSp modSp add mod">
        <pc:chgData name="Yoshikawa, Naoki" userId="6011425b-4330-4998-8b24-3cf6edc0f551" providerId="ADAL" clId="{7A5D17D0-35FA-4A21-9DD0-702B2EB55EB1}" dt="2025-06-29T23:57:47.367" v="51" actId="1076"/>
        <pc:sldMkLst>
          <pc:docMk/>
          <pc:sldMk cId="2275528936" sldId="2147476254"/>
        </pc:sldMkLst>
        <pc:spChg chg="mod">
          <ac:chgData name="Yoshikawa, Naoki" userId="6011425b-4330-4998-8b24-3cf6edc0f551" providerId="ADAL" clId="{7A5D17D0-35FA-4A21-9DD0-702B2EB55EB1}" dt="2025-06-29T23:56:11.094" v="28" actId="207"/>
          <ac:spMkLst>
            <pc:docMk/>
            <pc:sldMk cId="2275528936" sldId="2147476254"/>
            <ac:spMk id="3" creationId="{1E34451F-92DA-79B3-D1F0-D2B52A45005B}"/>
          </ac:spMkLst>
        </pc:spChg>
        <pc:spChg chg="add mod">
          <ac:chgData name="Yoshikawa, Naoki" userId="6011425b-4330-4998-8b24-3cf6edc0f551" providerId="ADAL" clId="{7A5D17D0-35FA-4A21-9DD0-702B2EB55EB1}" dt="2025-06-29T23:57:47.367" v="51" actId="1076"/>
          <ac:spMkLst>
            <pc:docMk/>
            <pc:sldMk cId="2275528936" sldId="2147476254"/>
            <ac:spMk id="5" creationId="{BCE467EB-77FB-7905-8E4B-6A2B9D954DBC}"/>
          </ac:spMkLst>
        </pc:spChg>
      </pc:sldChg>
      <pc:sldChg chg="addSp modSp add mod">
        <pc:chgData name="Yoshikawa, Naoki" userId="6011425b-4330-4998-8b24-3cf6edc0f551" providerId="ADAL" clId="{7A5D17D0-35FA-4A21-9DD0-702B2EB55EB1}" dt="2025-06-29T23:58:50.754" v="60" actId="207"/>
        <pc:sldMkLst>
          <pc:docMk/>
          <pc:sldMk cId="3355206452" sldId="2147476255"/>
        </pc:sldMkLst>
        <pc:spChg chg="mod">
          <ac:chgData name="Yoshikawa, Naoki" userId="6011425b-4330-4998-8b24-3cf6edc0f551" providerId="ADAL" clId="{7A5D17D0-35FA-4A21-9DD0-702B2EB55EB1}" dt="2025-06-29T23:58:50.754" v="60" actId="207"/>
          <ac:spMkLst>
            <pc:docMk/>
            <pc:sldMk cId="3355206452" sldId="2147476255"/>
            <ac:spMk id="3" creationId="{1E34451F-92DA-79B3-D1F0-D2B52A45005B}"/>
          </ac:spMkLst>
        </pc:spChg>
        <pc:spChg chg="add mod">
          <ac:chgData name="Yoshikawa, Naoki" userId="6011425b-4330-4998-8b24-3cf6edc0f551" providerId="ADAL" clId="{7A5D17D0-35FA-4A21-9DD0-702B2EB55EB1}" dt="2025-06-29T23:57:38.524" v="49" actId="1076"/>
          <ac:spMkLst>
            <pc:docMk/>
            <pc:sldMk cId="3355206452" sldId="2147476255"/>
            <ac:spMk id="5" creationId="{861ADFFC-29C2-876F-D738-3757590B0764}"/>
          </ac:spMkLst>
        </pc:spChg>
      </pc:sldChg>
    </pc:docChg>
  </pc:docChgLst>
  <pc:docChgLst>
    <pc:chgData name="Tamura, Shuhei" userId="cb61c1b9-acd5-495b-bf6b-cc9ea3fe5ebb" providerId="ADAL" clId="{022A60B0-2849-4D46-A903-43E36A53BF29}"/>
    <pc:docChg chg="undo custSel modSld">
      <pc:chgData name="Tamura, Shuhei" userId="cb61c1b9-acd5-495b-bf6b-cc9ea3fe5ebb" providerId="ADAL" clId="{022A60B0-2849-4D46-A903-43E36A53BF29}" dt="2025-07-02T06:36:28.488" v="2482" actId="1035"/>
      <pc:docMkLst>
        <pc:docMk/>
      </pc:docMkLst>
      <pc:sldChg chg="modSp mod">
        <pc:chgData name="Tamura, Shuhei" userId="cb61c1b9-acd5-495b-bf6b-cc9ea3fe5ebb" providerId="ADAL" clId="{022A60B0-2849-4D46-A903-43E36A53BF29}" dt="2025-07-02T06:35:08.047" v="2403" actId="1035"/>
        <pc:sldMkLst>
          <pc:docMk/>
          <pc:sldMk cId="161549272" sldId="2147476285"/>
        </pc:sldMkLst>
        <pc:spChg chg="mod">
          <ac:chgData name="Tamura, Shuhei" userId="cb61c1b9-acd5-495b-bf6b-cc9ea3fe5ebb" providerId="ADAL" clId="{022A60B0-2849-4D46-A903-43E36A53BF29}" dt="2025-07-02T06:34:56.359" v="2389" actId="14100"/>
          <ac:spMkLst>
            <pc:docMk/>
            <pc:sldMk cId="161549272" sldId="2147476285"/>
            <ac:spMk id="25" creationId="{0CD750F5-E3CB-4EA2-5BB2-32AFA06CD271}"/>
          </ac:spMkLst>
        </pc:spChg>
        <pc:spChg chg="mod">
          <ac:chgData name="Tamura, Shuhei" userId="cb61c1b9-acd5-495b-bf6b-cc9ea3fe5ebb" providerId="ADAL" clId="{022A60B0-2849-4D46-A903-43E36A53BF29}" dt="2025-07-02T06:14:38.293" v="1423" actId="20577"/>
          <ac:spMkLst>
            <pc:docMk/>
            <pc:sldMk cId="161549272" sldId="2147476285"/>
            <ac:spMk id="30" creationId="{3448C59E-558C-342D-EA1A-7AE67789B08F}"/>
          </ac:spMkLst>
        </pc:spChg>
        <pc:picChg chg="mod">
          <ac:chgData name="Tamura, Shuhei" userId="cb61c1b9-acd5-495b-bf6b-cc9ea3fe5ebb" providerId="ADAL" clId="{022A60B0-2849-4D46-A903-43E36A53BF29}" dt="2025-07-02T06:35:08.047" v="2403" actId="1035"/>
          <ac:picMkLst>
            <pc:docMk/>
            <pc:sldMk cId="161549272" sldId="2147476285"/>
            <ac:picMk id="6" creationId="{4EC1523F-75FD-2C47-F1E6-EC2EA55CD677}"/>
          </ac:picMkLst>
        </pc:picChg>
      </pc:sldChg>
      <pc:sldChg chg="modSp mod">
        <pc:chgData name="Tamura, Shuhei" userId="cb61c1b9-acd5-495b-bf6b-cc9ea3fe5ebb" providerId="ADAL" clId="{022A60B0-2849-4D46-A903-43E36A53BF29}" dt="2025-07-02T06:14:33.153" v="1421" actId="20577"/>
        <pc:sldMkLst>
          <pc:docMk/>
          <pc:sldMk cId="1712149576" sldId="2147476295"/>
        </pc:sldMkLst>
        <pc:spChg chg="mod">
          <ac:chgData name="Tamura, Shuhei" userId="cb61c1b9-acd5-495b-bf6b-cc9ea3fe5ebb" providerId="ADAL" clId="{022A60B0-2849-4D46-A903-43E36A53BF29}" dt="2025-07-02T02:31:39.465" v="147" actId="14100"/>
          <ac:spMkLst>
            <pc:docMk/>
            <pc:sldMk cId="1712149576" sldId="2147476295"/>
            <ac:spMk id="25" creationId="{0CD750F5-E3CB-4EA2-5BB2-32AFA06CD271}"/>
          </ac:spMkLst>
        </pc:spChg>
        <pc:spChg chg="mod">
          <ac:chgData name="Tamura, Shuhei" userId="cb61c1b9-acd5-495b-bf6b-cc9ea3fe5ebb" providerId="ADAL" clId="{022A60B0-2849-4D46-A903-43E36A53BF29}" dt="2025-07-02T06:14:33.153" v="1421" actId="20577"/>
          <ac:spMkLst>
            <pc:docMk/>
            <pc:sldMk cId="1712149576" sldId="2147476295"/>
            <ac:spMk id="30" creationId="{3448C59E-558C-342D-EA1A-7AE67789B08F}"/>
          </ac:spMkLst>
        </pc:spChg>
        <pc:picChg chg="mod">
          <ac:chgData name="Tamura, Shuhei" userId="cb61c1b9-acd5-495b-bf6b-cc9ea3fe5ebb" providerId="ADAL" clId="{022A60B0-2849-4D46-A903-43E36A53BF29}" dt="2025-07-02T02:31:55.274" v="155" actId="1038"/>
          <ac:picMkLst>
            <pc:docMk/>
            <pc:sldMk cId="1712149576" sldId="2147476295"/>
            <ac:picMk id="8" creationId="{2C529C48-C1D9-5E60-133A-5BD5CE259203}"/>
          </ac:picMkLst>
        </pc:picChg>
      </pc:sldChg>
      <pc:sldChg chg="modSp mod">
        <pc:chgData name="Tamura, Shuhei" userId="cb61c1b9-acd5-495b-bf6b-cc9ea3fe5ebb" providerId="ADAL" clId="{022A60B0-2849-4D46-A903-43E36A53BF29}" dt="2025-07-02T06:35:39.435" v="2438" actId="1038"/>
        <pc:sldMkLst>
          <pc:docMk/>
          <pc:sldMk cId="2238522532" sldId="2147476296"/>
        </pc:sldMkLst>
        <pc:spChg chg="mod">
          <ac:chgData name="Tamura, Shuhei" userId="cb61c1b9-acd5-495b-bf6b-cc9ea3fe5ebb" providerId="ADAL" clId="{022A60B0-2849-4D46-A903-43E36A53BF29}" dt="2025-07-02T06:35:23.619" v="2404" actId="14100"/>
          <ac:spMkLst>
            <pc:docMk/>
            <pc:sldMk cId="2238522532" sldId="2147476296"/>
            <ac:spMk id="25" creationId="{0CD750F5-E3CB-4EA2-5BB2-32AFA06CD271}"/>
          </ac:spMkLst>
        </pc:spChg>
        <pc:spChg chg="mod">
          <ac:chgData name="Tamura, Shuhei" userId="cb61c1b9-acd5-495b-bf6b-cc9ea3fe5ebb" providerId="ADAL" clId="{022A60B0-2849-4D46-A903-43E36A53BF29}" dt="2025-07-02T06:14:57.925" v="1482" actId="20577"/>
          <ac:spMkLst>
            <pc:docMk/>
            <pc:sldMk cId="2238522532" sldId="2147476296"/>
            <ac:spMk id="30" creationId="{3448C59E-558C-342D-EA1A-7AE67789B08F}"/>
          </ac:spMkLst>
        </pc:spChg>
        <pc:picChg chg="mod">
          <ac:chgData name="Tamura, Shuhei" userId="cb61c1b9-acd5-495b-bf6b-cc9ea3fe5ebb" providerId="ADAL" clId="{022A60B0-2849-4D46-A903-43E36A53BF29}" dt="2025-07-02T06:35:39.435" v="2438" actId="1038"/>
          <ac:picMkLst>
            <pc:docMk/>
            <pc:sldMk cId="2238522532" sldId="2147476296"/>
            <ac:picMk id="2" creationId="{A46B69D1-E953-78CF-6A14-F1F81E8DF744}"/>
          </ac:picMkLst>
        </pc:picChg>
      </pc:sldChg>
      <pc:sldChg chg="addSp delSp modSp mod">
        <pc:chgData name="Tamura, Shuhei" userId="cb61c1b9-acd5-495b-bf6b-cc9ea3fe5ebb" providerId="ADAL" clId="{022A60B0-2849-4D46-A903-43E36A53BF29}" dt="2025-07-02T06:34:10.027" v="2388" actId="14100"/>
        <pc:sldMkLst>
          <pc:docMk/>
          <pc:sldMk cId="2737910143" sldId="2147476297"/>
        </pc:sldMkLst>
        <pc:spChg chg="add mod">
          <ac:chgData name="Tamura, Shuhei" userId="cb61c1b9-acd5-495b-bf6b-cc9ea3fe5ebb" providerId="ADAL" clId="{022A60B0-2849-4D46-A903-43E36A53BF29}" dt="2025-07-02T03:34:11.839" v="319" actId="571"/>
          <ac:spMkLst>
            <pc:docMk/>
            <pc:sldMk cId="2737910143" sldId="2147476297"/>
            <ac:spMk id="5" creationId="{BC2614B7-5615-AF19-F2DC-B22A9398859E}"/>
          </ac:spMkLst>
        </pc:spChg>
        <pc:spChg chg="add mod">
          <ac:chgData name="Tamura, Shuhei" userId="cb61c1b9-acd5-495b-bf6b-cc9ea3fe5ebb" providerId="ADAL" clId="{022A60B0-2849-4D46-A903-43E36A53BF29}" dt="2025-07-02T06:31:00.780" v="2299" actId="14100"/>
          <ac:spMkLst>
            <pc:docMk/>
            <pc:sldMk cId="2737910143" sldId="2147476297"/>
            <ac:spMk id="9" creationId="{33BE2EFF-2B92-69D3-08D9-3D24D25A1235}"/>
          </ac:spMkLst>
        </pc:spChg>
        <pc:spChg chg="add mod">
          <ac:chgData name="Tamura, Shuhei" userId="cb61c1b9-acd5-495b-bf6b-cc9ea3fe5ebb" providerId="ADAL" clId="{022A60B0-2849-4D46-A903-43E36A53BF29}" dt="2025-07-02T06:30:23.076" v="2286" actId="1037"/>
          <ac:spMkLst>
            <pc:docMk/>
            <pc:sldMk cId="2737910143" sldId="2147476297"/>
            <ac:spMk id="10" creationId="{94307921-BF3C-2D2B-4FBB-516451744E86}"/>
          </ac:spMkLst>
        </pc:spChg>
        <pc:spChg chg="add del mod">
          <ac:chgData name="Tamura, Shuhei" userId="cb61c1b9-acd5-495b-bf6b-cc9ea3fe5ebb" providerId="ADAL" clId="{022A60B0-2849-4D46-A903-43E36A53BF29}" dt="2025-07-02T03:35:46.883" v="347" actId="478"/>
          <ac:spMkLst>
            <pc:docMk/>
            <pc:sldMk cId="2737910143" sldId="2147476297"/>
            <ac:spMk id="11" creationId="{9A8B5984-AC05-5658-973E-F6E972C49DEF}"/>
          </ac:spMkLst>
        </pc:spChg>
        <pc:spChg chg="add del mod">
          <ac:chgData name="Tamura, Shuhei" userId="cb61c1b9-acd5-495b-bf6b-cc9ea3fe5ebb" providerId="ADAL" clId="{022A60B0-2849-4D46-A903-43E36A53BF29}" dt="2025-07-02T03:35:46.883" v="347" actId="478"/>
          <ac:spMkLst>
            <pc:docMk/>
            <pc:sldMk cId="2737910143" sldId="2147476297"/>
            <ac:spMk id="12" creationId="{01488C95-BF68-44D5-EFD6-B75AC36CC588}"/>
          </ac:spMkLst>
        </pc:spChg>
        <pc:spChg chg="add mod">
          <ac:chgData name="Tamura, Shuhei" userId="cb61c1b9-acd5-495b-bf6b-cc9ea3fe5ebb" providerId="ADAL" clId="{022A60B0-2849-4D46-A903-43E36A53BF29}" dt="2025-07-02T06:33:36.837" v="2387" actId="14100"/>
          <ac:spMkLst>
            <pc:docMk/>
            <pc:sldMk cId="2737910143" sldId="2147476297"/>
            <ac:spMk id="13" creationId="{12E5C4D2-D39E-637C-3AEB-ED897B184EA1}"/>
          </ac:spMkLst>
        </pc:spChg>
        <pc:spChg chg="add mod">
          <ac:chgData name="Tamura, Shuhei" userId="cb61c1b9-acd5-495b-bf6b-cc9ea3fe5ebb" providerId="ADAL" clId="{022A60B0-2849-4D46-A903-43E36A53BF29}" dt="2025-07-02T06:31:17.707" v="2333" actId="1036"/>
          <ac:spMkLst>
            <pc:docMk/>
            <pc:sldMk cId="2737910143" sldId="2147476297"/>
            <ac:spMk id="14" creationId="{F000ED2C-4B6D-2C0C-F4F7-D1256B4BBDCE}"/>
          </ac:spMkLst>
        </pc:spChg>
        <pc:spChg chg="mod">
          <ac:chgData name="Tamura, Shuhei" userId="cb61c1b9-acd5-495b-bf6b-cc9ea3fe5ebb" providerId="ADAL" clId="{022A60B0-2849-4D46-A903-43E36A53BF29}" dt="2025-07-02T06:30:58.449" v="2297" actId="14100"/>
          <ac:spMkLst>
            <pc:docMk/>
            <pc:sldMk cId="2737910143" sldId="2147476297"/>
            <ac:spMk id="25" creationId="{0CD750F5-E3CB-4EA2-5BB2-32AFA06CD271}"/>
          </ac:spMkLst>
        </pc:spChg>
        <pc:spChg chg="mod">
          <ac:chgData name="Tamura, Shuhei" userId="cb61c1b9-acd5-495b-bf6b-cc9ea3fe5ebb" providerId="ADAL" clId="{022A60B0-2849-4D46-A903-43E36A53BF29}" dt="2025-07-02T06:30:59.820" v="2298" actId="1036"/>
          <ac:spMkLst>
            <pc:docMk/>
            <pc:sldMk cId="2737910143" sldId="2147476297"/>
            <ac:spMk id="30" creationId="{3448C59E-558C-342D-EA1A-7AE67789B08F}"/>
          </ac:spMkLst>
        </pc:spChg>
        <pc:picChg chg="mod">
          <ac:chgData name="Tamura, Shuhei" userId="cb61c1b9-acd5-495b-bf6b-cc9ea3fe5ebb" providerId="ADAL" clId="{022A60B0-2849-4D46-A903-43E36A53BF29}" dt="2025-07-02T06:34:10.027" v="2388" actId="14100"/>
          <ac:picMkLst>
            <pc:docMk/>
            <pc:sldMk cId="2737910143" sldId="2147476297"/>
            <ac:picMk id="2" creationId="{C9B66B76-9639-2E08-8AED-0AA12D74685D}"/>
          </ac:picMkLst>
        </pc:picChg>
        <pc:picChg chg="mod">
          <ac:chgData name="Tamura, Shuhei" userId="cb61c1b9-acd5-495b-bf6b-cc9ea3fe5ebb" providerId="ADAL" clId="{022A60B0-2849-4D46-A903-43E36A53BF29}" dt="2025-07-02T06:33:23.089" v="2386" actId="1035"/>
          <ac:picMkLst>
            <pc:docMk/>
            <pc:sldMk cId="2737910143" sldId="2147476297"/>
            <ac:picMk id="6" creationId="{4E624490-0F2C-D065-D8DA-F2FEFA6DD56D}"/>
          </ac:picMkLst>
        </pc:picChg>
        <pc:picChg chg="mod">
          <ac:chgData name="Tamura, Shuhei" userId="cb61c1b9-acd5-495b-bf6b-cc9ea3fe5ebb" providerId="ADAL" clId="{022A60B0-2849-4D46-A903-43E36A53BF29}" dt="2025-07-02T06:31:39.812" v="2348" actId="14100"/>
          <ac:picMkLst>
            <pc:docMk/>
            <pc:sldMk cId="2737910143" sldId="2147476297"/>
            <ac:picMk id="8" creationId="{98D6103D-A34E-6B76-8647-68F7980A563C}"/>
          </ac:picMkLst>
        </pc:picChg>
      </pc:sldChg>
      <pc:sldChg chg="modSp mod">
        <pc:chgData name="Tamura, Shuhei" userId="cb61c1b9-acd5-495b-bf6b-cc9ea3fe5ebb" providerId="ADAL" clId="{022A60B0-2849-4D46-A903-43E36A53BF29}" dt="2025-07-02T06:36:28.488" v="2482" actId="1035"/>
        <pc:sldMkLst>
          <pc:docMk/>
          <pc:sldMk cId="196848279" sldId="2147476298"/>
        </pc:sldMkLst>
        <pc:spChg chg="mod">
          <ac:chgData name="Tamura, Shuhei" userId="cb61c1b9-acd5-495b-bf6b-cc9ea3fe5ebb" providerId="ADAL" clId="{022A60B0-2849-4D46-A903-43E36A53BF29}" dt="2025-07-02T06:18:49.870" v="1613" actId="20577"/>
          <ac:spMkLst>
            <pc:docMk/>
            <pc:sldMk cId="196848279" sldId="2147476298"/>
            <ac:spMk id="30" creationId="{3448C59E-558C-342D-EA1A-7AE67789B08F}"/>
          </ac:spMkLst>
        </pc:spChg>
        <pc:picChg chg="mod">
          <ac:chgData name="Tamura, Shuhei" userId="cb61c1b9-acd5-495b-bf6b-cc9ea3fe5ebb" providerId="ADAL" clId="{022A60B0-2849-4D46-A903-43E36A53BF29}" dt="2025-07-02T06:36:28.488" v="2482" actId="1035"/>
          <ac:picMkLst>
            <pc:docMk/>
            <pc:sldMk cId="196848279" sldId="2147476298"/>
            <ac:picMk id="2" creationId="{3D02A744-E9CF-DBFD-834A-29905FDAB33A}"/>
          </ac:picMkLst>
        </pc:picChg>
      </pc:sldChg>
      <pc:sldChg chg="modSp mod">
        <pc:chgData name="Tamura, Shuhei" userId="cb61c1b9-acd5-495b-bf6b-cc9ea3fe5ebb" providerId="ADAL" clId="{022A60B0-2849-4D46-A903-43E36A53BF29}" dt="2025-07-02T06:19:09.368" v="1656" actId="20577"/>
        <pc:sldMkLst>
          <pc:docMk/>
          <pc:sldMk cId="3767265030" sldId="2147476299"/>
        </pc:sldMkLst>
        <pc:spChg chg="mod">
          <ac:chgData name="Tamura, Shuhei" userId="cb61c1b9-acd5-495b-bf6b-cc9ea3fe5ebb" providerId="ADAL" clId="{022A60B0-2849-4D46-A903-43E36A53BF29}" dt="2025-07-02T05:13:07.018" v="817" actId="14100"/>
          <ac:spMkLst>
            <pc:docMk/>
            <pc:sldMk cId="3767265030" sldId="2147476299"/>
            <ac:spMk id="25" creationId="{0CD750F5-E3CB-4EA2-5BB2-32AFA06CD271}"/>
          </ac:spMkLst>
        </pc:spChg>
        <pc:spChg chg="mod">
          <ac:chgData name="Tamura, Shuhei" userId="cb61c1b9-acd5-495b-bf6b-cc9ea3fe5ebb" providerId="ADAL" clId="{022A60B0-2849-4D46-A903-43E36A53BF29}" dt="2025-07-02T06:19:09.368" v="1656" actId="20577"/>
          <ac:spMkLst>
            <pc:docMk/>
            <pc:sldMk cId="3767265030" sldId="2147476299"/>
            <ac:spMk id="30" creationId="{3448C59E-558C-342D-EA1A-7AE67789B08F}"/>
          </ac:spMkLst>
        </pc:spChg>
        <pc:picChg chg="mod">
          <ac:chgData name="Tamura, Shuhei" userId="cb61c1b9-acd5-495b-bf6b-cc9ea3fe5ebb" providerId="ADAL" clId="{022A60B0-2849-4D46-A903-43E36A53BF29}" dt="2025-07-02T05:13:20.559" v="826" actId="1036"/>
          <ac:picMkLst>
            <pc:docMk/>
            <pc:sldMk cId="3767265030" sldId="2147476299"/>
            <ac:picMk id="2" creationId="{C68711ED-7089-DABE-E46E-29B39FB6C847}"/>
          </ac:picMkLst>
        </pc:picChg>
      </pc:sldChg>
      <pc:sldChg chg="addSp modSp mod">
        <pc:chgData name="Tamura, Shuhei" userId="cb61c1b9-acd5-495b-bf6b-cc9ea3fe5ebb" providerId="ADAL" clId="{022A60B0-2849-4D46-A903-43E36A53BF29}" dt="2025-07-02T06:20:48.659" v="1847" actId="20577"/>
        <pc:sldMkLst>
          <pc:docMk/>
          <pc:sldMk cId="1698583822" sldId="2147476300"/>
        </pc:sldMkLst>
        <pc:spChg chg="add mod">
          <ac:chgData name="Tamura, Shuhei" userId="cb61c1b9-acd5-495b-bf6b-cc9ea3fe5ebb" providerId="ADAL" clId="{022A60B0-2849-4D46-A903-43E36A53BF29}" dt="2025-07-02T05:23:56.107" v="968" actId="14100"/>
          <ac:spMkLst>
            <pc:docMk/>
            <pc:sldMk cId="1698583822" sldId="2147476300"/>
            <ac:spMk id="6" creationId="{1490148D-D36A-5363-A6F3-BC499145C9A4}"/>
          </ac:spMkLst>
        </pc:spChg>
        <pc:spChg chg="add mod">
          <ac:chgData name="Tamura, Shuhei" userId="cb61c1b9-acd5-495b-bf6b-cc9ea3fe5ebb" providerId="ADAL" clId="{022A60B0-2849-4D46-A903-43E36A53BF29}" dt="2025-07-02T06:20:48.659" v="1847" actId="20577"/>
          <ac:spMkLst>
            <pc:docMk/>
            <pc:sldMk cId="1698583822" sldId="2147476300"/>
            <ac:spMk id="8" creationId="{2E712169-3A23-51EC-7DEB-37FB03D6B67B}"/>
          </ac:spMkLst>
        </pc:spChg>
        <pc:spChg chg="mod">
          <ac:chgData name="Tamura, Shuhei" userId="cb61c1b9-acd5-495b-bf6b-cc9ea3fe5ebb" providerId="ADAL" clId="{022A60B0-2849-4D46-A903-43E36A53BF29}" dt="2025-07-02T05:23:41.721" v="964" actId="14100"/>
          <ac:spMkLst>
            <pc:docMk/>
            <pc:sldMk cId="1698583822" sldId="2147476300"/>
            <ac:spMk id="25" creationId="{0CD750F5-E3CB-4EA2-5BB2-32AFA06CD271}"/>
          </ac:spMkLst>
        </pc:spChg>
        <pc:spChg chg="mod">
          <ac:chgData name="Tamura, Shuhei" userId="cb61c1b9-acd5-495b-bf6b-cc9ea3fe5ebb" providerId="ADAL" clId="{022A60B0-2849-4D46-A903-43E36A53BF29}" dt="2025-07-02T06:19:35.777" v="1693" actId="20577"/>
          <ac:spMkLst>
            <pc:docMk/>
            <pc:sldMk cId="1698583822" sldId="2147476300"/>
            <ac:spMk id="30" creationId="{3448C59E-558C-342D-EA1A-7AE67789B08F}"/>
          </ac:spMkLst>
        </pc:spChg>
        <pc:picChg chg="mod">
          <ac:chgData name="Tamura, Shuhei" userId="cb61c1b9-acd5-495b-bf6b-cc9ea3fe5ebb" providerId="ADAL" clId="{022A60B0-2849-4D46-A903-43E36A53BF29}" dt="2025-07-02T05:24:02.301" v="989" actId="1037"/>
          <ac:picMkLst>
            <pc:docMk/>
            <pc:sldMk cId="1698583822" sldId="2147476300"/>
            <ac:picMk id="2" creationId="{82AE1480-35D0-3B20-43DE-696F3DF2EBE0}"/>
          </ac:picMkLst>
        </pc:picChg>
        <pc:picChg chg="mod">
          <ac:chgData name="Tamura, Shuhei" userId="cb61c1b9-acd5-495b-bf6b-cc9ea3fe5ebb" providerId="ADAL" clId="{022A60B0-2849-4D46-A903-43E36A53BF29}" dt="2025-07-02T05:24:09.265" v="993" actId="1036"/>
          <ac:picMkLst>
            <pc:docMk/>
            <pc:sldMk cId="1698583822" sldId="2147476300"/>
            <ac:picMk id="5" creationId="{857056E4-D473-087C-7B81-CD120B7CAC84}"/>
          </ac:picMkLst>
        </pc:picChg>
      </pc:sldChg>
      <pc:sldChg chg="modSp mod">
        <pc:chgData name="Tamura, Shuhei" userId="cb61c1b9-acd5-495b-bf6b-cc9ea3fe5ebb" providerId="ADAL" clId="{022A60B0-2849-4D46-A903-43E36A53BF29}" dt="2025-07-02T06:36:04.368" v="2455" actId="1037"/>
        <pc:sldMkLst>
          <pc:docMk/>
          <pc:sldMk cId="2955133890" sldId="2147476301"/>
        </pc:sldMkLst>
        <pc:spChg chg="mod">
          <ac:chgData name="Tamura, Shuhei" userId="cb61c1b9-acd5-495b-bf6b-cc9ea3fe5ebb" providerId="ADAL" clId="{022A60B0-2849-4D46-A903-43E36A53BF29}" dt="2025-07-02T06:18:31.247" v="1589" actId="20577"/>
          <ac:spMkLst>
            <pc:docMk/>
            <pc:sldMk cId="2955133890" sldId="2147476301"/>
            <ac:spMk id="30" creationId="{3448C59E-558C-342D-EA1A-7AE67789B08F}"/>
          </ac:spMkLst>
        </pc:spChg>
        <pc:picChg chg="mod">
          <ac:chgData name="Tamura, Shuhei" userId="cb61c1b9-acd5-495b-bf6b-cc9ea3fe5ebb" providerId="ADAL" clId="{022A60B0-2849-4D46-A903-43E36A53BF29}" dt="2025-07-02T06:36:04.368" v="2455" actId="1037"/>
          <ac:picMkLst>
            <pc:docMk/>
            <pc:sldMk cId="2955133890" sldId="2147476301"/>
            <ac:picMk id="2" creationId="{ABD7E9A7-7F72-41A2-CF35-445EF875FF5B}"/>
          </ac:picMkLst>
        </pc:picChg>
      </pc:sldChg>
      <pc:sldChg chg="modSp mod">
        <pc:chgData name="Tamura, Shuhei" userId="cb61c1b9-acd5-495b-bf6b-cc9ea3fe5ebb" providerId="ADAL" clId="{022A60B0-2849-4D46-A903-43E36A53BF29}" dt="2025-07-02T06:21:50.488" v="1957" actId="20577"/>
        <pc:sldMkLst>
          <pc:docMk/>
          <pc:sldMk cId="876069289" sldId="2147476302"/>
        </pc:sldMkLst>
        <pc:spChg chg="mod">
          <ac:chgData name="Tamura, Shuhei" userId="cb61c1b9-acd5-495b-bf6b-cc9ea3fe5ebb" providerId="ADAL" clId="{022A60B0-2849-4D46-A903-43E36A53BF29}" dt="2025-07-02T05:44:40.816" v="1064" actId="14100"/>
          <ac:spMkLst>
            <pc:docMk/>
            <pc:sldMk cId="876069289" sldId="2147476302"/>
            <ac:spMk id="25" creationId="{0CD750F5-E3CB-4EA2-5BB2-32AFA06CD271}"/>
          </ac:spMkLst>
        </pc:spChg>
        <pc:spChg chg="mod">
          <ac:chgData name="Tamura, Shuhei" userId="cb61c1b9-acd5-495b-bf6b-cc9ea3fe5ebb" providerId="ADAL" clId="{022A60B0-2849-4D46-A903-43E36A53BF29}" dt="2025-07-02T06:21:50.488" v="1957" actId="20577"/>
          <ac:spMkLst>
            <pc:docMk/>
            <pc:sldMk cId="876069289" sldId="2147476302"/>
            <ac:spMk id="30" creationId="{3448C59E-558C-342D-EA1A-7AE67789B08F}"/>
          </ac:spMkLst>
        </pc:spChg>
        <pc:picChg chg="mod">
          <ac:chgData name="Tamura, Shuhei" userId="cb61c1b9-acd5-495b-bf6b-cc9ea3fe5ebb" providerId="ADAL" clId="{022A60B0-2849-4D46-A903-43E36A53BF29}" dt="2025-07-02T05:44:36.138" v="1063" actId="14100"/>
          <ac:picMkLst>
            <pc:docMk/>
            <pc:sldMk cId="876069289" sldId="2147476302"/>
            <ac:picMk id="2" creationId="{C6B5E095-42C8-655E-6F1B-C0C4524FC5FA}"/>
          </ac:picMkLst>
        </pc:picChg>
      </pc:sldChg>
      <pc:sldChg chg="modSp mod">
        <pc:chgData name="Tamura, Shuhei" userId="cb61c1b9-acd5-495b-bf6b-cc9ea3fe5ebb" providerId="ADAL" clId="{022A60B0-2849-4D46-A903-43E36A53BF29}" dt="2025-07-02T06:22:28.678" v="2102" actId="20577"/>
        <pc:sldMkLst>
          <pc:docMk/>
          <pc:sldMk cId="2039468415" sldId="2147476303"/>
        </pc:sldMkLst>
        <pc:spChg chg="mod">
          <ac:chgData name="Tamura, Shuhei" userId="cb61c1b9-acd5-495b-bf6b-cc9ea3fe5ebb" providerId="ADAL" clId="{022A60B0-2849-4D46-A903-43E36A53BF29}" dt="2025-07-02T05:50:12.547" v="1093" actId="14100"/>
          <ac:spMkLst>
            <pc:docMk/>
            <pc:sldMk cId="2039468415" sldId="2147476303"/>
            <ac:spMk id="25" creationId="{0CD750F5-E3CB-4EA2-5BB2-32AFA06CD271}"/>
          </ac:spMkLst>
        </pc:spChg>
        <pc:spChg chg="mod">
          <ac:chgData name="Tamura, Shuhei" userId="cb61c1b9-acd5-495b-bf6b-cc9ea3fe5ebb" providerId="ADAL" clId="{022A60B0-2849-4D46-A903-43E36A53BF29}" dt="2025-07-02T06:22:28.678" v="2102" actId="20577"/>
          <ac:spMkLst>
            <pc:docMk/>
            <pc:sldMk cId="2039468415" sldId="2147476303"/>
            <ac:spMk id="30" creationId="{3448C59E-558C-342D-EA1A-7AE67789B08F}"/>
          </ac:spMkLst>
        </pc:spChg>
        <pc:picChg chg="mod">
          <ac:chgData name="Tamura, Shuhei" userId="cb61c1b9-acd5-495b-bf6b-cc9ea3fe5ebb" providerId="ADAL" clId="{022A60B0-2849-4D46-A903-43E36A53BF29}" dt="2025-07-02T05:50:15.896" v="1098" actId="1036"/>
          <ac:picMkLst>
            <pc:docMk/>
            <pc:sldMk cId="2039468415" sldId="2147476303"/>
            <ac:picMk id="2" creationId="{0F13CD61-51E6-E62F-F31A-18A4159B3751}"/>
          </ac:picMkLst>
        </pc:picChg>
      </pc:sldChg>
      <pc:sldChg chg="modSp mod">
        <pc:chgData name="Tamura, Shuhei" userId="cb61c1b9-acd5-495b-bf6b-cc9ea3fe5ebb" providerId="ADAL" clId="{022A60B0-2849-4D46-A903-43E36A53BF29}" dt="2025-07-02T06:22:58.993" v="2184" actId="20577"/>
        <pc:sldMkLst>
          <pc:docMk/>
          <pc:sldMk cId="2055203696" sldId="2147476304"/>
        </pc:sldMkLst>
        <pc:spChg chg="mod">
          <ac:chgData name="Tamura, Shuhei" userId="cb61c1b9-acd5-495b-bf6b-cc9ea3fe5ebb" providerId="ADAL" clId="{022A60B0-2849-4D46-A903-43E36A53BF29}" dt="2025-07-02T06:22:58.993" v="2184" actId="20577"/>
          <ac:spMkLst>
            <pc:docMk/>
            <pc:sldMk cId="2055203696" sldId="2147476304"/>
            <ac:spMk id="30" creationId="{3448C59E-558C-342D-EA1A-7AE67789B08F}"/>
          </ac:spMkLst>
        </pc:spChg>
        <pc:picChg chg="mod">
          <ac:chgData name="Tamura, Shuhei" userId="cb61c1b9-acd5-495b-bf6b-cc9ea3fe5ebb" providerId="ADAL" clId="{022A60B0-2849-4D46-A903-43E36A53BF29}" dt="2025-07-02T05:59:42.782" v="1148" actId="1036"/>
          <ac:picMkLst>
            <pc:docMk/>
            <pc:sldMk cId="2055203696" sldId="2147476304"/>
            <ac:picMk id="2" creationId="{E7E2D8D6-2F16-8295-7AB9-EFA366863FA7}"/>
          </ac:picMkLst>
        </pc:picChg>
      </pc:sldChg>
      <pc:sldChg chg="modSp mod">
        <pc:chgData name="Tamura, Shuhei" userId="cb61c1b9-acd5-495b-bf6b-cc9ea3fe5ebb" providerId="ADAL" clId="{022A60B0-2849-4D46-A903-43E36A53BF29}" dt="2025-07-02T06:21:04.558" v="1857" actId="20577"/>
        <pc:sldMkLst>
          <pc:docMk/>
          <pc:sldMk cId="3798191958" sldId="2147476306"/>
        </pc:sldMkLst>
        <pc:spChg chg="mod">
          <ac:chgData name="Tamura, Shuhei" userId="cb61c1b9-acd5-495b-bf6b-cc9ea3fe5ebb" providerId="ADAL" clId="{022A60B0-2849-4D46-A903-43E36A53BF29}" dt="2025-07-02T02:17:57.932" v="69" actId="1038"/>
          <ac:spMkLst>
            <pc:docMk/>
            <pc:sldMk cId="3798191958" sldId="2147476306"/>
            <ac:spMk id="25" creationId="{0CD750F5-E3CB-4EA2-5BB2-32AFA06CD271}"/>
          </ac:spMkLst>
        </pc:spChg>
        <pc:spChg chg="mod">
          <ac:chgData name="Tamura, Shuhei" userId="cb61c1b9-acd5-495b-bf6b-cc9ea3fe5ebb" providerId="ADAL" clId="{022A60B0-2849-4D46-A903-43E36A53BF29}" dt="2025-07-02T06:21:04.558" v="1857" actId="20577"/>
          <ac:spMkLst>
            <pc:docMk/>
            <pc:sldMk cId="3798191958" sldId="2147476306"/>
            <ac:spMk id="30" creationId="{3448C59E-558C-342D-EA1A-7AE67789B08F}"/>
          </ac:spMkLst>
        </pc:spChg>
        <pc:picChg chg="mod">
          <ac:chgData name="Tamura, Shuhei" userId="cb61c1b9-acd5-495b-bf6b-cc9ea3fe5ebb" providerId="ADAL" clId="{022A60B0-2849-4D46-A903-43E36A53BF29}" dt="2025-07-02T02:17:57.932" v="69" actId="1038"/>
          <ac:picMkLst>
            <pc:docMk/>
            <pc:sldMk cId="3798191958" sldId="2147476306"/>
            <ac:picMk id="2" creationId="{2D15A602-C390-7D1A-6ED4-27EEDE30C117}"/>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62707A5F-A7D6-C641-8208-3E6DFDB2F48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70554B22-9586-484A-A766-0C443511469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F02A3B7-46B2-E94A-9EF8-D8D874E780F7}" type="datetimeFigureOut">
              <a:rPr kumimoji="1" lang="ja-JP" altLang="en-US" smtClean="0"/>
              <a:t>2025/7/11</a:t>
            </a:fld>
            <a:endParaRPr kumimoji="1" lang="ja-JP" altLang="en-US"/>
          </a:p>
        </p:txBody>
      </p:sp>
      <p:sp>
        <p:nvSpPr>
          <p:cNvPr id="4" name="フッター プレースホルダー 3">
            <a:extLst>
              <a:ext uri="{FF2B5EF4-FFF2-40B4-BE49-F238E27FC236}">
                <a16:creationId xmlns:a16="http://schemas.microsoft.com/office/drawing/2014/main" id="{ED85D71E-D7E7-1E4D-A100-20172004F5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51F7FD02-B9AC-5040-9426-86C1B469DF6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6C1043-B07B-A34C-A6AD-E266C03B38C1}" type="slidenum">
              <a:rPr kumimoji="1" lang="ja-JP" altLang="en-US" smtClean="0"/>
              <a:t>‹#›</a:t>
            </a:fld>
            <a:endParaRPr kumimoji="1" lang="ja-JP" altLang="en-US"/>
          </a:p>
        </p:txBody>
      </p:sp>
    </p:spTree>
    <p:extLst>
      <p:ext uri="{BB962C8B-B14F-4D97-AF65-F5344CB8AC3E}">
        <p14:creationId xmlns:p14="http://schemas.microsoft.com/office/powerpoint/2010/main" val="24202093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2F1F98-6922-D549-90B4-4FEE2DCA453F}" type="datetimeFigureOut">
              <a:rPr kumimoji="1" lang="ja-JP" altLang="en-US" smtClean="0"/>
              <a:t>2025/7/11</a:t>
            </a:fld>
            <a:endParaRPr kumimoji="1" lang="ja-JP" altLang="en-US"/>
          </a:p>
        </p:txBody>
      </p:sp>
      <p:sp>
        <p:nvSpPr>
          <p:cNvPr id="4" name="スライド イメージ プレースホルダー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E9B8F7-F11D-7247-854D-760B01224C6A}" type="slidenum">
              <a:rPr kumimoji="1" lang="ja-JP" altLang="en-US" smtClean="0"/>
              <a:t>‹#›</a:t>
            </a:fld>
            <a:endParaRPr kumimoji="1" lang="ja-JP" altLang="en-US"/>
          </a:p>
        </p:txBody>
      </p:sp>
    </p:spTree>
    <p:extLst>
      <p:ext uri="{BB962C8B-B14F-4D97-AF65-F5344CB8AC3E}">
        <p14:creationId xmlns:p14="http://schemas.microsoft.com/office/powerpoint/2010/main" val="12538678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a:t>
            </a:fld>
            <a:endParaRPr kumimoji="1" lang="ja-JP" altLang="en-US"/>
          </a:p>
        </p:txBody>
      </p:sp>
    </p:spTree>
    <p:extLst>
      <p:ext uri="{BB962C8B-B14F-4D97-AF65-F5344CB8AC3E}">
        <p14:creationId xmlns:p14="http://schemas.microsoft.com/office/powerpoint/2010/main" val="8756125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6" Type="http://schemas.openxmlformats.org/officeDocument/2006/relationships/image" Target="../media/image7.png"/><Relationship Id="rId5" Type="http://schemas.openxmlformats.org/officeDocument/2006/relationships/image" Target="../media/image5.png"/><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3.xml"/><Relationship Id="rId5" Type="http://schemas.openxmlformats.org/officeDocument/2006/relationships/image" Target="../media/image5.png"/><Relationship Id="rId4" Type="http://schemas.openxmlformats.org/officeDocument/2006/relationships/image" Target="../media/image1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5.xml"/><Relationship Id="rId5" Type="http://schemas.openxmlformats.org/officeDocument/2006/relationships/image" Target="../media/image6.png"/><Relationship Id="rId4" Type="http://schemas.openxmlformats.org/officeDocument/2006/relationships/image" Target="../media/image1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11.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1.emf"/><Relationship Id="rId4" Type="http://schemas.openxmlformats.org/officeDocument/2006/relationships/oleObject" Target="../embeddings/oleObject23.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1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1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32.xml"/><Relationship Id="rId4" Type="http://schemas.openxmlformats.org/officeDocument/2006/relationships/image" Target="../media/image1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36.xml"/><Relationship Id="rId6" Type="http://schemas.openxmlformats.org/officeDocument/2006/relationships/image" Target="../media/image12.png"/><Relationship Id="rId5" Type="http://schemas.openxmlformats.org/officeDocument/2006/relationships/image" Target="../media/image7.png"/><Relationship Id="rId4" Type="http://schemas.openxmlformats.org/officeDocument/2006/relationships/image" Target="../media/image1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1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38.xml"/><Relationship Id="rId6" Type="http://schemas.openxmlformats.org/officeDocument/2006/relationships/image" Target="../media/image9.png"/><Relationship Id="rId5" Type="http://schemas.openxmlformats.org/officeDocument/2006/relationships/image" Target="../media/image7.png"/><Relationship Id="rId4" Type="http://schemas.openxmlformats.org/officeDocument/2006/relationships/image" Target="../media/image1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39.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4.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4.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4.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4.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5.bin"/><Relationship Id="rId7" Type="http://schemas.openxmlformats.org/officeDocument/2006/relationships/image" Target="../media/image14.jpeg"/><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5.png"/><Relationship Id="rId4" Type="http://schemas.openxmlformats.org/officeDocument/2006/relationships/image" Target="../media/image1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5.xml"/><Relationship Id="rId1" Type="http://schemas.openxmlformats.org/officeDocument/2006/relationships/tags" Target="../tags/tag49.xml"/><Relationship Id="rId4" Type="http://schemas.openxmlformats.org/officeDocument/2006/relationships/image" Target="../media/image1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5.xml"/><Relationship Id="rId1" Type="http://schemas.openxmlformats.org/officeDocument/2006/relationships/tags" Target="../tags/tag50.xml"/><Relationship Id="rId5" Type="http://schemas.openxmlformats.org/officeDocument/2006/relationships/image" Target="../media/image6.png"/><Relationship Id="rId4" Type="http://schemas.openxmlformats.org/officeDocument/2006/relationships/image" Target="../media/image11.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1.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1.emf"/><Relationship Id="rId4" Type="http://schemas.openxmlformats.org/officeDocument/2006/relationships/oleObject" Target="../embeddings/oleObject41.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59.xml"/><Relationship Id="rId4" Type="http://schemas.openxmlformats.org/officeDocument/2006/relationships/image" Target="../media/image1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60.xml"/><Relationship Id="rId4" Type="http://schemas.openxmlformats.org/officeDocument/2006/relationships/image" Target="../media/image1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61.xml"/><Relationship Id="rId6" Type="http://schemas.openxmlformats.org/officeDocument/2006/relationships/image" Target="../media/image12.png"/><Relationship Id="rId5" Type="http://schemas.openxmlformats.org/officeDocument/2006/relationships/image" Target="../media/image7.png"/><Relationship Id="rId4" Type="http://schemas.openxmlformats.org/officeDocument/2006/relationships/image" Target="../media/image11.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5.xml"/><Relationship Id="rId1" Type="http://schemas.openxmlformats.org/officeDocument/2006/relationships/tags" Target="../tags/tag62.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1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63.xml"/><Relationship Id="rId6" Type="http://schemas.openxmlformats.org/officeDocument/2006/relationships/image" Target="../media/image9.png"/><Relationship Id="rId5" Type="http://schemas.openxmlformats.org/officeDocument/2006/relationships/image" Target="../media/image7.png"/><Relationship Id="rId4" Type="http://schemas.openxmlformats.org/officeDocument/2006/relationships/image" Target="../media/image1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64.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65.xml"/><Relationship Id="rId4" Type="http://schemas.openxmlformats.org/officeDocument/2006/relationships/image" Target="../media/image4.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66.xml"/><Relationship Id="rId4" Type="http://schemas.openxmlformats.org/officeDocument/2006/relationships/image" Target="../media/image4.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4.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4.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69.xml"/><Relationship Id="rId4" Type="http://schemas.openxmlformats.org/officeDocument/2006/relationships/image" Target="../media/image4.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4.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9.bin"/><Relationship Id="rId7" Type="http://schemas.openxmlformats.org/officeDocument/2006/relationships/image" Target="../media/image14.jpeg"/><Relationship Id="rId2" Type="http://schemas.openxmlformats.org/officeDocument/2006/relationships/slideMaster" Target="../slideMasters/slideMaster5.xml"/><Relationship Id="rId1" Type="http://schemas.openxmlformats.org/officeDocument/2006/relationships/tags" Target="../tags/tag7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6.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6.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a:extLst>
              <a:ext uri="{FF2B5EF4-FFF2-40B4-BE49-F238E27FC236}">
                <a16:creationId xmlns:a16="http://schemas.microsoft.com/office/drawing/2014/main" id="{8145FA22-8B15-8165-6374-D653E8B173C9}"/>
              </a:ext>
            </a:extLst>
          </p:cNvPr>
          <p:cNvSpPr/>
          <p:nvPr userDrawn="1"/>
        </p:nvSpPr>
        <p:spPr>
          <a:xfrm>
            <a:off x="89298" y="728663"/>
            <a:ext cx="8965406"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a:p>
        </p:txBody>
      </p:sp>
      <p:sp>
        <p:nvSpPr>
          <p:cNvPr id="15" name="タイトル 66"/>
          <p:cNvSpPr>
            <a:spLocks noGrp="1"/>
          </p:cNvSpPr>
          <p:nvPr>
            <p:ph type="title" hasCustomPrompt="1"/>
          </p:nvPr>
        </p:nvSpPr>
        <p:spPr>
          <a:xfrm>
            <a:off x="562969" y="2520667"/>
            <a:ext cx="8194031"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562969" y="4704321"/>
            <a:ext cx="8194031" cy="553998"/>
          </a:xfrm>
          <a:prstGeom prst="rect">
            <a:avLst/>
          </a:prstGeom>
          <a:noFill/>
        </p:spPr>
        <p:txBody>
          <a:bodyPr wrap="square" lIns="0" tIns="0" rIns="0" bIns="0" anchor="t" anchorCtr="0">
            <a:noAutofit/>
          </a:bodyPr>
          <a:lstStyle>
            <a:lvl1pPr marL="0" indent="0" defTabSz="158400">
              <a:lnSpc>
                <a:spcPct val="100000"/>
              </a:lnSpc>
              <a:spcBef>
                <a:spcPts val="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562971" y="1653463"/>
            <a:ext cx="8194030"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sp>
        <p:nvSpPr>
          <p:cNvPr id="13" name="テキスト ボックス 12">
            <a:extLst>
              <a:ext uri="{FF2B5EF4-FFF2-40B4-BE49-F238E27FC236}">
                <a16:creationId xmlns:a16="http://schemas.microsoft.com/office/drawing/2014/main" id="{3D317733-1BDA-7840-87EC-1AB6D30D915E}"/>
              </a:ext>
            </a:extLst>
          </p:cNvPr>
          <p:cNvSpPr txBox="1"/>
          <p:nvPr userDrawn="1"/>
        </p:nvSpPr>
        <p:spPr>
          <a:xfrm>
            <a:off x="8076090" y="6312590"/>
            <a:ext cx="891000" cy="411257"/>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3" name="図 2" descr="テキスト&#10;&#10;中程度の精度で自動的に生成された説明">
            <a:extLst>
              <a:ext uri="{FF2B5EF4-FFF2-40B4-BE49-F238E27FC236}">
                <a16:creationId xmlns:a16="http://schemas.microsoft.com/office/drawing/2014/main" id="{64AB173A-EA3B-7645-9D0D-8E3868B4053B}"/>
              </a:ext>
            </a:extLst>
          </p:cNvPr>
          <p:cNvPicPr>
            <a:picLocks noChangeAspect="1"/>
          </p:cNvPicPr>
          <p:nvPr userDrawn="1"/>
        </p:nvPicPr>
        <p:blipFill>
          <a:blip r:embed="rId2"/>
          <a:stretch>
            <a:fillRect/>
          </a:stretch>
        </p:blipFill>
        <p:spPr>
          <a:xfrm>
            <a:off x="7447526" y="66263"/>
            <a:ext cx="1636518" cy="662400"/>
          </a:xfrm>
          <a:prstGeom prst="rect">
            <a:avLst/>
          </a:prstGeom>
        </p:spPr>
      </p:pic>
    </p:spTree>
    <p:extLst>
      <p:ext uri="{BB962C8B-B14F-4D97-AF65-F5344CB8AC3E}">
        <p14:creationId xmlns:p14="http://schemas.microsoft.com/office/powerpoint/2010/main" val="336557218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4215721748"/>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385477" y="5040010"/>
            <a:ext cx="4187077"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85477" y="5652010"/>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85476" y="6408003"/>
            <a:ext cx="4187077"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572000" y="396000"/>
            <a:ext cx="4187077"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a:extLst>
              <a:ext uri="{FF2B5EF4-FFF2-40B4-BE49-F238E27FC236}">
                <a16:creationId xmlns:a16="http://schemas.microsoft.com/office/drawing/2014/main" id="{E823F930-1440-4D98-B4B0-A60A3B34534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385477" y="432000"/>
            <a:ext cx="1728000" cy="581488"/>
          </a:xfrm>
          <a:prstGeom prst="rect">
            <a:avLst/>
          </a:prstGeom>
        </p:spPr>
      </p:pic>
      <p:sp>
        <p:nvSpPr>
          <p:cNvPr id="6" name="日付プレースホルダー 5">
            <a:extLst>
              <a:ext uri="{FF2B5EF4-FFF2-40B4-BE49-F238E27FC236}">
                <a16:creationId xmlns:a16="http://schemas.microsoft.com/office/drawing/2014/main" id="{72F109B1-F10E-4107-A5FF-847826BE510A}"/>
              </a:ext>
            </a:extLst>
          </p:cNvPr>
          <p:cNvSpPr>
            <a:spLocks noGrp="1"/>
          </p:cNvSpPr>
          <p:nvPr>
            <p:ph type="dt" sz="half" idx="13"/>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3291538517"/>
      </p:ext>
    </p:extLst>
  </p:cSld>
  <p:clrMapOvr>
    <a:masterClrMapping/>
  </p:clrMapOvr>
  <p:hf hdr="0"/>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74857153"/>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385477" y="5040010"/>
            <a:ext cx="4187077"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85477" y="5652010"/>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85476" y="6408003"/>
            <a:ext cx="4187077"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A205A9A3-5008-49F4-8A06-BC95DA2477A8}"/>
              </a:ext>
            </a:extLst>
          </p:cNvPr>
          <p:cNvSpPr>
            <a:spLocks noGrp="1"/>
          </p:cNvSpPr>
          <p:nvPr>
            <p:ph type="dt" sz="half" idx="12"/>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793438547"/>
      </p:ext>
    </p:extLst>
  </p:cSld>
  <p:clrMapOvr>
    <a:masterClrMapping/>
  </p:clrMapOvr>
  <p:hf hdr="0"/>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59983232"/>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384925" y="1476000"/>
            <a:ext cx="4020923" cy="4824000"/>
          </a:xfrm>
          <a:prstGeom prst="rect">
            <a:avLst/>
          </a:prstGeom>
        </p:spPr>
        <p:txBody>
          <a:bodyPr/>
          <a:lstStyle>
            <a:lvl1pPr>
              <a:lnSpc>
                <a:spcPct val="110000"/>
              </a:lnSpc>
              <a:spcBef>
                <a:spcPts val="600"/>
              </a:spcBef>
              <a:tabLst>
                <a:tab pos="5448509" algn="r"/>
              </a:tabLst>
              <a:defRPr sz="1200">
                <a:latin typeface="+mn-lt"/>
                <a:ea typeface="+mn-ea"/>
                <a:cs typeface="+mn-cs"/>
                <a:sym typeface="+mn-lt"/>
              </a:defRPr>
            </a:lvl1pPr>
            <a:lvl2pPr>
              <a:lnSpc>
                <a:spcPct val="110000"/>
              </a:lnSpc>
              <a:spcBef>
                <a:spcPts val="600"/>
              </a:spcBef>
              <a:tabLst>
                <a:tab pos="5448509" algn="r"/>
              </a:tabLst>
              <a:defRPr sz="1200">
                <a:latin typeface="+mn-lt"/>
                <a:ea typeface="+mn-ea"/>
                <a:cs typeface="+mn-cs"/>
                <a:sym typeface="+mn-lt"/>
              </a:defRPr>
            </a:lvl2pPr>
            <a:lvl3pPr>
              <a:lnSpc>
                <a:spcPct val="110000"/>
              </a:lnSpc>
              <a:spcBef>
                <a:spcPts val="600"/>
              </a:spcBef>
              <a:tabLst>
                <a:tab pos="5448509" algn="r"/>
              </a:tabLst>
              <a:defRPr sz="1200">
                <a:latin typeface="+mn-lt"/>
                <a:ea typeface="+mn-ea"/>
                <a:cs typeface="+mn-cs"/>
                <a:sym typeface="+mn-lt"/>
              </a:defRPr>
            </a:lvl3pPr>
            <a:lvl4pPr>
              <a:lnSpc>
                <a:spcPct val="110000"/>
              </a:lnSpc>
              <a:spcBef>
                <a:spcPts val="600"/>
              </a:spcBef>
              <a:tabLst>
                <a:tab pos="5448509" algn="r"/>
              </a:tabLst>
              <a:defRPr sz="1200">
                <a:latin typeface="+mn-lt"/>
                <a:ea typeface="+mn-ea"/>
                <a:cs typeface="+mn-cs"/>
                <a:sym typeface="+mn-lt"/>
              </a:defRPr>
            </a:lvl4pPr>
            <a:lvl5pPr>
              <a:tabLst>
                <a:tab pos="5448509"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4738154" y="1476000"/>
            <a:ext cx="4020923" cy="4824000"/>
          </a:xfrm>
          <a:prstGeom prst="rect">
            <a:avLst/>
          </a:prstGeom>
        </p:spPr>
        <p:txBody>
          <a:bodyPr/>
          <a:lstStyle>
            <a:lvl1pPr>
              <a:lnSpc>
                <a:spcPct val="110000"/>
              </a:lnSpc>
              <a:spcBef>
                <a:spcPts val="600"/>
              </a:spcBef>
              <a:tabLst>
                <a:tab pos="5448509" algn="r"/>
              </a:tabLst>
              <a:defRPr sz="1200">
                <a:latin typeface="+mn-lt"/>
                <a:ea typeface="+mn-ea"/>
                <a:cs typeface="+mn-cs"/>
                <a:sym typeface="+mn-lt"/>
              </a:defRPr>
            </a:lvl1pPr>
            <a:lvl2pPr>
              <a:lnSpc>
                <a:spcPct val="110000"/>
              </a:lnSpc>
              <a:spcBef>
                <a:spcPts val="600"/>
              </a:spcBef>
              <a:tabLst>
                <a:tab pos="5448509" algn="r"/>
              </a:tabLst>
              <a:defRPr sz="1200">
                <a:latin typeface="+mn-lt"/>
                <a:ea typeface="+mn-ea"/>
                <a:cs typeface="+mn-cs"/>
                <a:sym typeface="+mn-lt"/>
              </a:defRPr>
            </a:lvl2pPr>
            <a:lvl3pPr>
              <a:lnSpc>
                <a:spcPct val="110000"/>
              </a:lnSpc>
              <a:spcBef>
                <a:spcPts val="600"/>
              </a:spcBef>
              <a:tabLst>
                <a:tab pos="5448509" algn="r"/>
              </a:tabLst>
              <a:defRPr sz="1200">
                <a:latin typeface="+mn-lt"/>
                <a:ea typeface="+mn-ea"/>
                <a:cs typeface="+mn-cs"/>
                <a:sym typeface="+mn-lt"/>
              </a:defRPr>
            </a:lvl3pPr>
            <a:lvl4pPr>
              <a:lnSpc>
                <a:spcPct val="110000"/>
              </a:lnSpc>
              <a:spcBef>
                <a:spcPts val="600"/>
              </a:spcBef>
              <a:tabLst>
                <a:tab pos="5448509" algn="r"/>
              </a:tabLst>
              <a:defRPr sz="1200">
                <a:latin typeface="+mn-lt"/>
                <a:ea typeface="+mn-ea"/>
                <a:cs typeface="+mn-cs"/>
                <a:sym typeface="+mn-lt"/>
              </a:defRPr>
            </a:lvl4pPr>
            <a:lvl5pPr>
              <a:tabLst>
                <a:tab pos="5448509"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2982903191"/>
      </p:ext>
    </p:extLst>
  </p:cSld>
  <p:clrMapOvr>
    <a:masterClrMapping/>
  </p:clrMapOvr>
  <p:hf hdr="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40479384"/>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en-GB" altLang="en-GB"/>
              <a:t>DT Template A4</a:t>
            </a:r>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747385" y="2340000"/>
            <a:ext cx="5649231"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13675910"/>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950399" y="2232000"/>
            <a:ext cx="4785231"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Tree>
    <p:extLst>
      <p:ext uri="{BB962C8B-B14F-4D97-AF65-F5344CB8AC3E}">
        <p14:creationId xmlns:p14="http://schemas.microsoft.com/office/powerpoint/2010/main" val="1633268474"/>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02286080"/>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384458" y="1008000"/>
            <a:ext cx="4020923"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689363007"/>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基本版） タイトルのみ_Header上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96902017"/>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384923" y="180000"/>
            <a:ext cx="8374154" cy="360000"/>
          </a:xfrm>
          <a:prstGeom prst="rect">
            <a:avLst/>
          </a:prstGeom>
        </p:spPr>
        <p:txBody>
          <a:bodyPr wrap="none" anchor="t" anchorCtr="0">
            <a:noAutofit/>
          </a:bodyPr>
          <a:lstStyle>
            <a:lvl1pPr>
              <a:lnSpc>
                <a:spcPct val="100000"/>
              </a:lnSpc>
              <a:spcBef>
                <a:spcPts val="0"/>
              </a:spcBef>
              <a:defRPr sz="2100" b="1" baseline="0">
                <a:solidFill>
                  <a:schemeClr val="tx1"/>
                </a:solidFill>
                <a:latin typeface="+mj-lt"/>
                <a:ea typeface="+mj-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384458" y="684000"/>
            <a:ext cx="8374154" cy="615600"/>
          </a:xfrm>
        </p:spPr>
        <p:txBody>
          <a:bodyPr vert="horz" anchor="t"/>
          <a:lstStyle>
            <a:lvl1pPr>
              <a:defRPr sz="1800" b="0" baseline="0">
                <a:latin typeface="+mn-lt"/>
                <a:ea typeface="+mn-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791952206"/>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689392102"/>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384458" y="1476000"/>
            <a:ext cx="4020923"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marR="0" indent="-144011" algn="l" defTabSz="989088"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vl5pPr>
              <a:defRPr sz="12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pPr/>
              <a:t>‹#›</a:t>
            </a:fld>
            <a:endParaRPr lang="ja-JP" altLang="en-US"/>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2" hasCustomPrompt="1"/>
          </p:nvPr>
        </p:nvSpPr>
        <p:spPr bwMode="gray">
          <a:xfrm>
            <a:off x="384458" y="1008000"/>
            <a:ext cx="4020923"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25068821"/>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232190008"/>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384458" y="1476000"/>
            <a:ext cx="4020923"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marR="0" indent="-144011" algn="l" defTabSz="989088"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4737589" y="1476000"/>
            <a:ext cx="4020923"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indent="-144011">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5" hasCustomPrompt="1"/>
          </p:nvPr>
        </p:nvSpPr>
        <p:spPr bwMode="gray">
          <a:xfrm>
            <a:off x="384458" y="1008000"/>
            <a:ext cx="4020923"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4737589" y="1008000"/>
            <a:ext cx="4020923"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784938550"/>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37810597"/>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384922" y="1476000"/>
            <a:ext cx="8374154"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indent="-144011">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8" name="テキスト プレースホルダー 2"/>
          <p:cNvSpPr>
            <a:spLocks noGrp="1"/>
          </p:cNvSpPr>
          <p:nvPr>
            <p:ph type="body" sz="quarter" idx="15" hasCustomPrompt="1"/>
          </p:nvPr>
        </p:nvSpPr>
        <p:spPr bwMode="gray">
          <a:xfrm>
            <a:off x="384458" y="1008000"/>
            <a:ext cx="4020923"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383826657"/>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1A1BC9BC-7E85-1F07-EBFA-39A9BB38A2B7}"/>
              </a:ext>
            </a:extLst>
          </p:cNvPr>
          <p:cNvSpPr/>
          <p:nvPr userDrawn="1"/>
        </p:nvSpPr>
        <p:spPr>
          <a:xfrm>
            <a:off x="89298" y="728663"/>
            <a:ext cx="8965406"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a:p>
        </p:txBody>
      </p:sp>
      <p:sp>
        <p:nvSpPr>
          <p:cNvPr id="16" name="テキスト プレースホルダー 28">
            <a:extLst>
              <a:ext uri="{FF2B5EF4-FFF2-40B4-BE49-F238E27FC236}">
                <a16:creationId xmlns:a16="http://schemas.microsoft.com/office/drawing/2014/main" id="{AA5ACE5D-BCC4-7FAF-258F-580CB021B585}"/>
              </a:ext>
            </a:extLst>
          </p:cNvPr>
          <p:cNvSpPr>
            <a:spLocks noGrp="1"/>
          </p:cNvSpPr>
          <p:nvPr>
            <p:ph type="body" sz="quarter" idx="11" hasCustomPrompt="1"/>
          </p:nvPr>
        </p:nvSpPr>
        <p:spPr>
          <a:xfrm>
            <a:off x="562969" y="4235914"/>
            <a:ext cx="8194031" cy="276999"/>
          </a:xfrm>
          <a:prstGeom prst="rect">
            <a:avLst/>
          </a:prstGeom>
          <a:noFill/>
        </p:spPr>
        <p:txBody>
          <a:bodyPr wrap="square" lIns="0" tIns="0" rIns="0" bIns="0" anchor="t" anchorCtr="0">
            <a:noAutofit/>
          </a:bodyPr>
          <a:lstStyle>
            <a:lvl1pPr marL="0" indent="0" defTabSz="158400">
              <a:lnSpc>
                <a:spcPct val="100000"/>
              </a:lnSpc>
              <a:spcBef>
                <a:spcPts val="50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a:extLst>
              <a:ext uri="{FF2B5EF4-FFF2-40B4-BE49-F238E27FC236}">
                <a16:creationId xmlns:a16="http://schemas.microsoft.com/office/drawing/2014/main" id="{3A40C814-17D5-4A7E-7A78-30BC828E8294}"/>
              </a:ext>
            </a:extLst>
          </p:cNvPr>
          <p:cNvSpPr>
            <a:spLocks noGrp="1"/>
          </p:cNvSpPr>
          <p:nvPr>
            <p:ph type="title" hasCustomPrompt="1"/>
          </p:nvPr>
        </p:nvSpPr>
        <p:spPr>
          <a:xfrm>
            <a:off x="562969" y="2867723"/>
            <a:ext cx="8194031"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sp>
        <p:nvSpPr>
          <p:cNvPr id="2" name="テキスト ボックス 1">
            <a:extLst>
              <a:ext uri="{FF2B5EF4-FFF2-40B4-BE49-F238E27FC236}">
                <a16:creationId xmlns:a16="http://schemas.microsoft.com/office/drawing/2014/main" id="{530E25D7-0B34-F677-C09E-4185823DAB85}"/>
              </a:ext>
            </a:extLst>
          </p:cNvPr>
          <p:cNvSpPr txBox="1"/>
          <p:nvPr userDrawn="1"/>
        </p:nvSpPr>
        <p:spPr>
          <a:xfrm>
            <a:off x="8076090" y="6312590"/>
            <a:ext cx="891000" cy="411257"/>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5" name="図 4" descr="テキスト&#10;&#10;中程度の精度で自動的に生成された説明">
            <a:extLst>
              <a:ext uri="{FF2B5EF4-FFF2-40B4-BE49-F238E27FC236}">
                <a16:creationId xmlns:a16="http://schemas.microsoft.com/office/drawing/2014/main" id="{59FEB064-9E10-7E77-2F7C-DF29C7A3F838}"/>
              </a:ext>
            </a:extLst>
          </p:cNvPr>
          <p:cNvPicPr>
            <a:picLocks noChangeAspect="1"/>
          </p:cNvPicPr>
          <p:nvPr userDrawn="1"/>
        </p:nvPicPr>
        <p:blipFill>
          <a:blip r:embed="rId2"/>
          <a:stretch>
            <a:fillRect/>
          </a:stretch>
        </p:blipFill>
        <p:spPr>
          <a:xfrm>
            <a:off x="7447526" y="66263"/>
            <a:ext cx="1636518" cy="662400"/>
          </a:xfrm>
          <a:prstGeom prst="rect">
            <a:avLst/>
          </a:prstGeom>
        </p:spPr>
      </p:pic>
    </p:spTree>
    <p:extLst>
      <p:ext uri="{BB962C8B-B14F-4D97-AF65-F5344CB8AC3E}">
        <p14:creationId xmlns:p14="http://schemas.microsoft.com/office/powerpoint/2010/main" val="391306537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9698542"/>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7422644"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385477" y="6336003"/>
            <a:ext cx="648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385477" y="432000"/>
            <a:ext cx="1728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385477" y="6588000"/>
            <a:ext cx="4020923"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4" name="図 3">
            <a:extLst>
              <a:ext uri="{FF2B5EF4-FFF2-40B4-BE49-F238E27FC236}">
                <a16:creationId xmlns:a16="http://schemas.microsoft.com/office/drawing/2014/main" id="{784D5B73-DF9C-49AC-94A2-96EF6F33C255}"/>
              </a:ext>
            </a:extLst>
          </p:cNvPr>
          <p:cNvPicPr>
            <a:picLocks noChangeAspect="1"/>
          </p:cNvPicPr>
          <p:nvPr userDrawn="1"/>
        </p:nvPicPr>
        <p:blipFill>
          <a:blip r:embed="rId6"/>
          <a:stretch>
            <a:fillRect/>
          </a:stretch>
        </p:blipFill>
        <p:spPr bwMode="gray">
          <a:xfrm>
            <a:off x="7431623" y="5472512"/>
            <a:ext cx="1329231" cy="873777"/>
          </a:xfrm>
          <a:prstGeom prst="rect">
            <a:avLst/>
          </a:prstGeom>
        </p:spPr>
      </p:pic>
    </p:spTree>
    <p:extLst>
      <p:ext uri="{BB962C8B-B14F-4D97-AF65-F5344CB8AC3E}">
        <p14:creationId xmlns:p14="http://schemas.microsoft.com/office/powerpoint/2010/main" val="118093057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442340363"/>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7422644"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1" name="テキスト プレースホルダー 13">
            <a:extLst>
              <a:ext uri="{FF2B5EF4-FFF2-40B4-BE49-F238E27FC236}">
                <a16:creationId xmlns:a16="http://schemas.microsoft.com/office/drawing/2014/main" id="{EC10764A-D9E5-4773-9998-E6E340EF200C}"/>
              </a:ext>
            </a:extLst>
          </p:cNvPr>
          <p:cNvSpPr>
            <a:spLocks noGrp="1"/>
          </p:cNvSpPr>
          <p:nvPr>
            <p:ph type="body" sz="quarter" idx="10"/>
          </p:nvPr>
        </p:nvSpPr>
        <p:spPr bwMode="gray">
          <a:xfrm>
            <a:off x="385477" y="6336003"/>
            <a:ext cx="648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08C8D089-6B7B-4D22-A423-606FF0A072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385478" y="432000"/>
            <a:ext cx="1726572" cy="586800"/>
          </a:xfrm>
          <a:prstGeom prst="rect">
            <a:avLst/>
          </a:prstGeom>
        </p:spPr>
      </p:pic>
      <p:sp>
        <p:nvSpPr>
          <p:cNvPr id="8" name="Text Box 37">
            <a:extLst>
              <a:ext uri="{FF2B5EF4-FFF2-40B4-BE49-F238E27FC236}">
                <a16:creationId xmlns:a16="http://schemas.microsoft.com/office/drawing/2014/main" id="{8ECAF025-B44C-4744-8C34-DBC751A55D36}"/>
              </a:ext>
            </a:extLst>
          </p:cNvPr>
          <p:cNvSpPr txBox="1">
            <a:spLocks noChangeArrowheads="1"/>
          </p:cNvSpPr>
          <p:nvPr userDrawn="1"/>
        </p:nvSpPr>
        <p:spPr bwMode="gray">
          <a:xfrm>
            <a:off x="385477" y="6588000"/>
            <a:ext cx="4020923"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6" name="図 5">
            <a:extLst>
              <a:ext uri="{FF2B5EF4-FFF2-40B4-BE49-F238E27FC236}">
                <a16:creationId xmlns:a16="http://schemas.microsoft.com/office/drawing/2014/main" id="{EA662424-EC38-41B4-918D-98953BBCEA84}"/>
              </a:ext>
            </a:extLst>
          </p:cNvPr>
          <p:cNvPicPr>
            <a:picLocks noChangeAspect="1"/>
          </p:cNvPicPr>
          <p:nvPr userDrawn="1"/>
        </p:nvPicPr>
        <p:blipFill>
          <a:blip r:embed="rId6"/>
          <a:stretch>
            <a:fillRect/>
          </a:stretch>
        </p:blipFill>
        <p:spPr bwMode="gray">
          <a:xfrm>
            <a:off x="7431623" y="5472507"/>
            <a:ext cx="1329231" cy="873777"/>
          </a:xfrm>
          <a:prstGeom prst="rect">
            <a:avLst/>
          </a:prstGeom>
        </p:spPr>
      </p:pic>
    </p:spTree>
    <p:extLst>
      <p:ext uri="{BB962C8B-B14F-4D97-AF65-F5344CB8AC3E}">
        <p14:creationId xmlns:p14="http://schemas.microsoft.com/office/powerpoint/2010/main" val="4146853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41586452"/>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7422644"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0" name="テキスト プレースホルダー 13">
            <a:extLst>
              <a:ext uri="{FF2B5EF4-FFF2-40B4-BE49-F238E27FC236}">
                <a16:creationId xmlns:a16="http://schemas.microsoft.com/office/drawing/2014/main" id="{8D7302B4-C3B2-43C1-A9E9-2DFB590FF1E9}"/>
              </a:ext>
            </a:extLst>
          </p:cNvPr>
          <p:cNvSpPr>
            <a:spLocks noGrp="1"/>
          </p:cNvSpPr>
          <p:nvPr>
            <p:ph type="body" sz="quarter" idx="10"/>
          </p:nvPr>
        </p:nvSpPr>
        <p:spPr bwMode="gray">
          <a:xfrm>
            <a:off x="385477" y="6336003"/>
            <a:ext cx="648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881D215A-DF31-4FC4-A706-4B6A3613D03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a:off x="384458" y="431005"/>
            <a:ext cx="3182572" cy="586800"/>
          </a:xfrm>
          <a:prstGeom prst="rect">
            <a:avLst/>
          </a:prstGeom>
          <a:noFill/>
          <a:ln>
            <a:noFill/>
          </a:ln>
        </p:spPr>
      </p:pic>
      <p:sp>
        <p:nvSpPr>
          <p:cNvPr id="8" name="Text Box 37">
            <a:extLst>
              <a:ext uri="{FF2B5EF4-FFF2-40B4-BE49-F238E27FC236}">
                <a16:creationId xmlns:a16="http://schemas.microsoft.com/office/drawing/2014/main" id="{5FB43949-A16F-4CF9-89FA-2868A80FA4F7}"/>
              </a:ext>
            </a:extLst>
          </p:cNvPr>
          <p:cNvSpPr txBox="1">
            <a:spLocks noChangeArrowheads="1"/>
          </p:cNvSpPr>
          <p:nvPr userDrawn="1"/>
        </p:nvSpPr>
        <p:spPr bwMode="gray">
          <a:xfrm>
            <a:off x="385477" y="6588000"/>
            <a:ext cx="4020923"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12" name="図 11">
            <a:extLst>
              <a:ext uri="{FF2B5EF4-FFF2-40B4-BE49-F238E27FC236}">
                <a16:creationId xmlns:a16="http://schemas.microsoft.com/office/drawing/2014/main" id="{4770B572-0E41-4F38-9C69-20D76FA470AF}"/>
              </a:ext>
            </a:extLst>
          </p:cNvPr>
          <p:cNvPicPr>
            <a:picLocks noChangeAspect="1"/>
          </p:cNvPicPr>
          <p:nvPr userDrawn="1"/>
        </p:nvPicPr>
        <p:blipFill>
          <a:blip r:embed="rId6"/>
          <a:stretch>
            <a:fillRect/>
          </a:stretch>
        </p:blipFill>
        <p:spPr bwMode="gray">
          <a:xfrm>
            <a:off x="7431623" y="5472512"/>
            <a:ext cx="1329231" cy="873777"/>
          </a:xfrm>
          <a:prstGeom prst="rect">
            <a:avLst/>
          </a:prstGeom>
        </p:spPr>
      </p:pic>
    </p:spTree>
    <p:extLst>
      <p:ext uri="{BB962C8B-B14F-4D97-AF65-F5344CB8AC3E}">
        <p14:creationId xmlns:p14="http://schemas.microsoft.com/office/powerpoint/2010/main" val="3484669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769900466"/>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7422644"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0" name="テキスト プレースホルダー 13">
            <a:extLst>
              <a:ext uri="{FF2B5EF4-FFF2-40B4-BE49-F238E27FC236}">
                <a16:creationId xmlns:a16="http://schemas.microsoft.com/office/drawing/2014/main" id="{98ED7F2A-D8F8-44B8-9950-656D3B6AC777}"/>
              </a:ext>
            </a:extLst>
          </p:cNvPr>
          <p:cNvSpPr>
            <a:spLocks noGrp="1"/>
          </p:cNvSpPr>
          <p:nvPr>
            <p:ph type="body" sz="quarter" idx="10"/>
          </p:nvPr>
        </p:nvSpPr>
        <p:spPr bwMode="gray">
          <a:xfrm>
            <a:off x="385477" y="6336003"/>
            <a:ext cx="648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66211CF3-AF55-4BB2-ABA6-DFDFA3C5155C}"/>
              </a:ext>
            </a:extLst>
          </p:cNvPr>
          <p:cNvPicPr>
            <a:picLocks noChangeAspect="1"/>
          </p:cNvPicPr>
          <p:nvPr userDrawn="1"/>
        </p:nvPicPr>
        <p:blipFill rotWithShape="1">
          <a:blip r:embed="rId5">
            <a:extLst>
              <a:ext uri="{28A0092B-C50C-407E-A947-70E740481C1C}">
                <a14:useLocalDpi xmlns:a14="http://schemas.microsoft.com/office/drawing/2010/main" val="0"/>
              </a:ext>
            </a:extLst>
          </a:blip>
          <a:stretch/>
        </p:blipFill>
        <p:spPr bwMode="gray">
          <a:xfrm>
            <a:off x="385477" y="432000"/>
            <a:ext cx="3184568" cy="586076"/>
          </a:xfrm>
          <a:prstGeom prst="rect">
            <a:avLst/>
          </a:prstGeom>
        </p:spPr>
      </p:pic>
      <p:sp>
        <p:nvSpPr>
          <p:cNvPr id="9" name="Text Box 37">
            <a:extLst>
              <a:ext uri="{FF2B5EF4-FFF2-40B4-BE49-F238E27FC236}">
                <a16:creationId xmlns:a16="http://schemas.microsoft.com/office/drawing/2014/main" id="{97296455-89ED-4F08-B776-BE18D4C8DF8F}"/>
              </a:ext>
            </a:extLst>
          </p:cNvPr>
          <p:cNvSpPr txBox="1">
            <a:spLocks noChangeArrowheads="1"/>
          </p:cNvSpPr>
          <p:nvPr userDrawn="1"/>
        </p:nvSpPr>
        <p:spPr bwMode="gray">
          <a:xfrm>
            <a:off x="385477" y="6588000"/>
            <a:ext cx="4020923"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12" name="図 11">
            <a:extLst>
              <a:ext uri="{FF2B5EF4-FFF2-40B4-BE49-F238E27FC236}">
                <a16:creationId xmlns:a16="http://schemas.microsoft.com/office/drawing/2014/main" id="{D2BBA463-2249-4A4A-80B9-2AD354819623}"/>
              </a:ext>
            </a:extLst>
          </p:cNvPr>
          <p:cNvPicPr>
            <a:picLocks noChangeAspect="1"/>
          </p:cNvPicPr>
          <p:nvPr userDrawn="1"/>
        </p:nvPicPr>
        <p:blipFill>
          <a:blip r:embed="rId6"/>
          <a:stretch>
            <a:fillRect/>
          </a:stretch>
        </p:blipFill>
        <p:spPr bwMode="gray">
          <a:xfrm>
            <a:off x="7431623" y="5472507"/>
            <a:ext cx="1329231" cy="873777"/>
          </a:xfrm>
          <a:prstGeom prst="rect">
            <a:avLst/>
          </a:prstGeom>
        </p:spPr>
      </p:pic>
    </p:spTree>
    <p:extLst>
      <p:ext uri="{BB962C8B-B14F-4D97-AF65-F5344CB8AC3E}">
        <p14:creationId xmlns:p14="http://schemas.microsoft.com/office/powerpoint/2010/main" val="30874785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72E5A2AA-8632-4C90-834B-AAF8FA2847A7}"/>
              </a:ext>
            </a:extLst>
          </p:cNvPr>
          <p:cNvGraphicFramePr>
            <a:graphicFrameLocks noChangeAspect="1"/>
          </p:cNvGraphicFramePr>
          <p:nvPr userDrawn="1">
            <p:custDataLst>
              <p:tags r:id="rId1"/>
            </p:custDataLst>
            <p:extLst>
              <p:ext uri="{D42A27DB-BD31-4B8C-83A1-F6EECF244321}">
                <p14:modId xmlns:p14="http://schemas.microsoft.com/office/powerpoint/2010/main" val="309442082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72E5A2AA-8632-4C90-834B-AAF8FA2847A7}"/>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749500" y="999000"/>
            <a:ext cx="3645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359099" y="5292000"/>
            <a:ext cx="4212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59099" y="5760002"/>
            <a:ext cx="4212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59099" y="6408000"/>
            <a:ext cx="4212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571999" y="396000"/>
            <a:ext cx="4212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359100" y="432001"/>
            <a:ext cx="1512000" cy="633201"/>
          </a:xfrm>
          <a:prstGeom prst="rect">
            <a:avLst/>
          </a:prstGeom>
        </p:spPr>
      </p:pic>
      <p:sp>
        <p:nvSpPr>
          <p:cNvPr id="6" name="日付プレースホルダー 5">
            <a:extLst>
              <a:ext uri="{FF2B5EF4-FFF2-40B4-BE49-F238E27FC236}">
                <a16:creationId xmlns:a16="http://schemas.microsoft.com/office/drawing/2014/main" id="{F26CE00B-EF0F-41D9-B6BD-2D199AF6C07D}"/>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69940215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F3F91AC-B9F8-4593-AC14-9A64CBC99950}"/>
              </a:ext>
            </a:extLst>
          </p:cNvPr>
          <p:cNvGraphicFramePr>
            <a:graphicFrameLocks noChangeAspect="1"/>
          </p:cNvGraphicFramePr>
          <p:nvPr userDrawn="1">
            <p:custDataLst>
              <p:tags r:id="rId1"/>
            </p:custDataLst>
            <p:extLst>
              <p:ext uri="{D42A27DB-BD31-4B8C-83A1-F6EECF244321}">
                <p14:modId xmlns:p14="http://schemas.microsoft.com/office/powerpoint/2010/main" val="316325476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8F3F91AC-B9F8-4593-AC14-9A64CBC99950}"/>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749500" y="999000"/>
            <a:ext cx="3645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359100" y="5292000"/>
            <a:ext cx="4212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59100" y="5760002"/>
            <a:ext cx="4212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59100" y="6408000"/>
            <a:ext cx="4212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123FC496-31C5-46DB-A99D-560417973E7D}"/>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648972768"/>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A7976D6E-C49A-4F4A-AE13-FFFBECE61404}"/>
              </a:ext>
            </a:extLst>
          </p:cNvPr>
          <p:cNvGraphicFramePr>
            <a:graphicFrameLocks noChangeAspect="1"/>
          </p:cNvGraphicFramePr>
          <p:nvPr userDrawn="1">
            <p:custDataLst>
              <p:tags r:id="rId1"/>
            </p:custDataLst>
            <p:extLst>
              <p:ext uri="{D42A27DB-BD31-4B8C-83A1-F6EECF244321}">
                <p14:modId xmlns:p14="http://schemas.microsoft.com/office/powerpoint/2010/main" val="284620103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A7976D6E-C49A-4F4A-AE13-FFFBECE6140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749500" y="999000"/>
            <a:ext cx="3645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359100" y="5292000"/>
            <a:ext cx="4212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59100" y="5760002"/>
            <a:ext cx="4212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59100" y="6408000"/>
            <a:ext cx="4212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571100" y="396000"/>
            <a:ext cx="4212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359100" y="431999"/>
            <a:ext cx="1512000" cy="627200"/>
          </a:xfrm>
          <a:prstGeom prst="rect">
            <a:avLst/>
          </a:prstGeom>
        </p:spPr>
      </p:pic>
      <p:sp>
        <p:nvSpPr>
          <p:cNvPr id="6" name="日付プレースホルダー 5">
            <a:extLst>
              <a:ext uri="{FF2B5EF4-FFF2-40B4-BE49-F238E27FC236}">
                <a16:creationId xmlns:a16="http://schemas.microsoft.com/office/drawing/2014/main" id="{3C714361-BA49-499D-BC89-8E0AF24FD365}"/>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3788071704"/>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84D28BC-667A-4B82-8BF2-52395A1B866F}"/>
              </a:ext>
            </a:extLst>
          </p:cNvPr>
          <p:cNvGraphicFramePr>
            <a:graphicFrameLocks noChangeAspect="1"/>
          </p:cNvGraphicFramePr>
          <p:nvPr userDrawn="1">
            <p:custDataLst>
              <p:tags r:id="rId1"/>
            </p:custDataLst>
            <p:extLst>
              <p:ext uri="{D42A27DB-BD31-4B8C-83A1-F6EECF244321}">
                <p14:modId xmlns:p14="http://schemas.microsoft.com/office/powerpoint/2010/main" val="45819936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B84D28BC-667A-4B82-8BF2-52395A1B866F}"/>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749500" y="999000"/>
            <a:ext cx="3645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359099" y="5292000"/>
            <a:ext cx="4212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59099" y="5760002"/>
            <a:ext cx="4212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59099" y="6408000"/>
            <a:ext cx="4212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9E461804-808B-4C49-B40D-446D892A3BF8}"/>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3339237856"/>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6642530-2487-4EE6-BEA5-E8FB44599D74}"/>
              </a:ext>
            </a:extLst>
          </p:cNvPr>
          <p:cNvGraphicFramePr>
            <a:graphicFrameLocks noChangeAspect="1"/>
          </p:cNvGraphicFramePr>
          <p:nvPr userDrawn="1">
            <p:custDataLst>
              <p:tags r:id="rId1"/>
            </p:custDataLst>
            <p:extLst>
              <p:ext uri="{D42A27DB-BD31-4B8C-83A1-F6EECF244321}">
                <p14:modId xmlns:p14="http://schemas.microsoft.com/office/powerpoint/2010/main" val="279763026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3" name="オブジェクト 2" hidden="1">
                        <a:extLst>
                          <a:ext uri="{FF2B5EF4-FFF2-40B4-BE49-F238E27FC236}">
                            <a16:creationId xmlns:a16="http://schemas.microsoft.com/office/drawing/2014/main" id="{D6642530-2487-4EE6-BEA5-E8FB44599D7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8C8D86AF-9D9D-4067-A4BC-C728044F77F8}"/>
              </a:ext>
            </a:extLst>
          </p:cNvPr>
          <p:cNvSpPr/>
          <p:nvPr userDrawn="1">
            <p:custDataLst>
              <p:tags r:id="rId2"/>
            </p:custDataLst>
          </p:nvPr>
        </p:nvSpPr>
        <p:spPr bwMode="gray">
          <a:xfrm>
            <a:off x="0" y="0"/>
            <a:ext cx="119063" cy="1587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360000" y="1476000"/>
            <a:ext cx="4077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4707000" y="1476000"/>
            <a:ext cx="4077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360000" y="108000"/>
            <a:ext cx="8424000" cy="738000"/>
          </a:xfrm>
        </p:spPr>
        <p:txBody>
          <a:bodyPr/>
          <a:lstStyle>
            <a:lvl1pPr>
              <a:defRPr baseline="0">
                <a:latin typeface="+mj-lt"/>
                <a:ea typeface="+mj-ea"/>
              </a:defRPr>
            </a:lvl1pPr>
          </a:lstStyle>
          <a:p>
            <a:r>
              <a:rPr kumimoji="1" lang="ja-JP" altLang="en-US"/>
              <a:t>マスター タイトルの書式設定</a:t>
            </a:r>
          </a:p>
        </p:txBody>
      </p:sp>
    </p:spTree>
    <p:extLst>
      <p:ext uri="{BB962C8B-B14F-4D97-AF65-F5344CB8AC3E}">
        <p14:creationId xmlns:p14="http://schemas.microsoft.com/office/powerpoint/2010/main" val="1523777044"/>
      </p:ext>
    </p:extLst>
  </p:cSld>
  <p:clrMapOvr>
    <a:masterClrMapping/>
  </p:clrMapOvr>
  <p:hf hdr="0"/>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96388208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197000" y="2556000"/>
            <a:ext cx="675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a:extLst>
              <a:ext uri="{FF2B5EF4-FFF2-40B4-BE49-F238E27FC236}">
                <a16:creationId xmlns:a16="http://schemas.microsoft.com/office/drawing/2014/main" id="{6273600F-CF7E-B990-6162-16B9B8D81E57}"/>
              </a:ext>
            </a:extLst>
          </p:cNvPr>
          <p:cNvSpPr>
            <a:spLocks noGrp="1"/>
          </p:cNvSpPr>
          <p:nvPr>
            <p:ph type="ftr" sz="quarter" idx="17"/>
          </p:nvPr>
        </p:nvSpPr>
        <p:spPr>
          <a:xfrm>
            <a:off x="548100" y="6588000"/>
            <a:ext cx="3888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58284183"/>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554A9AD2-A44F-6C4C-90A5-7E0F6615ABFB}"/>
              </a:ext>
            </a:extLst>
          </p:cNvPr>
          <p:cNvSpPr>
            <a:spLocks noGrp="1"/>
          </p:cNvSpPr>
          <p:nvPr>
            <p:ph type="title" hasCustomPrompt="1"/>
          </p:nvPr>
        </p:nvSpPr>
        <p:spPr>
          <a:xfrm>
            <a:off x="310752" y="255264"/>
            <a:ext cx="6995304"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a:extLst>
              <a:ext uri="{FF2B5EF4-FFF2-40B4-BE49-F238E27FC236}">
                <a16:creationId xmlns:a16="http://schemas.microsoft.com/office/drawing/2014/main" id="{F51E5A19-FBB7-6442-9D4F-1E3DFA3936D4}"/>
              </a:ext>
            </a:extLst>
          </p:cNvPr>
          <p:cNvSpPr>
            <a:spLocks noGrp="1"/>
          </p:cNvSpPr>
          <p:nvPr>
            <p:ph sz="quarter" idx="10" hasCustomPrompt="1"/>
          </p:nvPr>
        </p:nvSpPr>
        <p:spPr>
          <a:xfrm>
            <a:off x="310753" y="857251"/>
            <a:ext cx="8662988"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a:extLst>
              <a:ext uri="{FF2B5EF4-FFF2-40B4-BE49-F238E27FC236}">
                <a16:creationId xmlns:a16="http://schemas.microsoft.com/office/drawing/2014/main" id="{CE14A7BB-2994-99E1-3721-81C07CB69B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17073" y="66163"/>
            <a:ext cx="1081068" cy="662901"/>
          </a:xfrm>
          <a:prstGeom prst="rect">
            <a:avLst/>
          </a:prstGeom>
        </p:spPr>
      </p:pic>
      <p:sp>
        <p:nvSpPr>
          <p:cNvPr id="5" name="テキスト ボックス 4">
            <a:extLst>
              <a:ext uri="{FF2B5EF4-FFF2-40B4-BE49-F238E27FC236}">
                <a16:creationId xmlns:a16="http://schemas.microsoft.com/office/drawing/2014/main" id="{97FBA75B-73F9-C2BD-82A5-BB1CC51D09F9}"/>
              </a:ext>
            </a:extLst>
          </p:cNvPr>
          <p:cNvSpPr txBox="1"/>
          <p:nvPr userDrawn="1"/>
        </p:nvSpPr>
        <p:spPr>
          <a:xfrm>
            <a:off x="8076090" y="6312590"/>
            <a:ext cx="891000" cy="411257"/>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spTree>
    <p:extLst>
      <p:ext uri="{BB962C8B-B14F-4D97-AF65-F5344CB8AC3E}">
        <p14:creationId xmlns:p14="http://schemas.microsoft.com/office/powerpoint/2010/main" val="10931376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CBD7C55F-79D3-4D3C-BF22-E2499EF30284}"/>
              </a:ext>
            </a:extLst>
          </p:cNvPr>
          <p:cNvGraphicFramePr>
            <a:graphicFrameLocks noChangeAspect="1"/>
          </p:cNvGraphicFramePr>
          <p:nvPr userDrawn="1">
            <p:custDataLst>
              <p:tags r:id="rId1"/>
            </p:custDataLst>
            <p:extLst>
              <p:ext uri="{D42A27DB-BD31-4B8C-83A1-F6EECF244321}">
                <p14:modId xmlns:p14="http://schemas.microsoft.com/office/powerpoint/2010/main" val="312700426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CBD7C55F-79D3-4D3C-BF22-E2499EF3028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764100" y="2232000"/>
            <a:ext cx="4698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3" name="フッター プレースホルダー 5">
            <a:extLst>
              <a:ext uri="{FF2B5EF4-FFF2-40B4-BE49-F238E27FC236}">
                <a16:creationId xmlns:a16="http://schemas.microsoft.com/office/drawing/2014/main" id="{FB658550-42CB-E14E-14DD-356EFBB48BE2}"/>
              </a:ext>
            </a:extLst>
          </p:cNvPr>
          <p:cNvSpPr>
            <a:spLocks noGrp="1"/>
          </p:cNvSpPr>
          <p:nvPr>
            <p:ph type="ftr" sz="quarter" idx="17"/>
          </p:nvPr>
        </p:nvSpPr>
        <p:spPr>
          <a:xfrm>
            <a:off x="548100" y="6588000"/>
            <a:ext cx="3888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323249379"/>
      </p:ext>
    </p:extLst>
  </p:cSld>
  <p:clrMapOvr>
    <a:masterClrMapping/>
  </p:clrMapOvr>
  <p:hf hdr="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67709634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359099" y="1008000"/>
            <a:ext cx="4077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a:extLst>
              <a:ext uri="{FF2B5EF4-FFF2-40B4-BE49-F238E27FC236}">
                <a16:creationId xmlns:a16="http://schemas.microsoft.com/office/drawing/2014/main" id="{D6382723-BDF8-412A-A400-B577A3A76D3C}"/>
              </a:ext>
            </a:extLst>
          </p:cNvPr>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a:extLst>
              <a:ext uri="{FF2B5EF4-FFF2-40B4-BE49-F238E27FC236}">
                <a16:creationId xmlns:a16="http://schemas.microsoft.com/office/drawing/2014/main" id="{5077665D-3395-4371-A62E-F9F868484345}"/>
              </a:ext>
            </a:extLst>
          </p:cNvPr>
          <p:cNvSpPr>
            <a:spLocks noGrp="1"/>
          </p:cNvSpPr>
          <p:nvPr>
            <p:ph type="sldNum" sz="quarter" idx="18"/>
          </p:nvPr>
        </p:nvSpPr>
        <p:spPr/>
        <p:txBody>
          <a:bodyPr/>
          <a:lstStyle/>
          <a:p>
            <a:fld id="{AA5FCFE5-FE56-4EF1-80A8-07776887C2A1}" type="slidenum">
              <a:rPr lang="ja-JP" altLang="en-US" smtClean="0"/>
              <a:pPr/>
              <a:t>‹#›</a:t>
            </a:fld>
            <a:endParaRPr lang="ja-JP" altLang="en-US"/>
          </a:p>
        </p:txBody>
      </p:sp>
      <p:sp>
        <p:nvSpPr>
          <p:cNvPr id="3" name="フッター プレースホルダー 5">
            <a:extLst>
              <a:ext uri="{FF2B5EF4-FFF2-40B4-BE49-F238E27FC236}">
                <a16:creationId xmlns:a16="http://schemas.microsoft.com/office/drawing/2014/main" id="{E31F8DD1-3F3E-D752-E559-D2F93B0185EE}"/>
              </a:ext>
            </a:extLst>
          </p:cNvPr>
          <p:cNvSpPr>
            <a:spLocks noGrp="1"/>
          </p:cNvSpPr>
          <p:nvPr>
            <p:ph type="ftr" sz="quarter" idx="17"/>
          </p:nvPr>
        </p:nvSpPr>
        <p:spPr>
          <a:xfrm>
            <a:off x="548100" y="6588000"/>
            <a:ext cx="3888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684984910"/>
      </p:ext>
    </p:extLst>
  </p:cSld>
  <p:clrMapOvr>
    <a:masterClrMapping/>
  </p:clrMapOvr>
  <p:hf hdr="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92658031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359099" y="180000"/>
            <a:ext cx="8424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360000" y="684000"/>
            <a:ext cx="8424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D32A95D4-7938-BBEE-26F6-A6CBD155113D}"/>
              </a:ext>
            </a:extLst>
          </p:cNvPr>
          <p:cNvSpPr>
            <a:spLocks noGrp="1"/>
          </p:cNvSpPr>
          <p:nvPr>
            <p:ph type="ftr" sz="quarter" idx="17"/>
          </p:nvPr>
        </p:nvSpPr>
        <p:spPr>
          <a:xfrm>
            <a:off x="548100" y="6588000"/>
            <a:ext cx="3888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782301988"/>
      </p:ext>
    </p:extLst>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040F6459-93BB-4F14-8CDE-BF67F2E0C10C}"/>
              </a:ext>
            </a:extLst>
          </p:cNvPr>
          <p:cNvGraphicFramePr>
            <a:graphicFrameLocks noChangeAspect="1"/>
          </p:cNvGraphicFramePr>
          <p:nvPr userDrawn="1">
            <p:custDataLst>
              <p:tags r:id="rId1"/>
            </p:custDataLst>
            <p:extLst>
              <p:ext uri="{D42A27DB-BD31-4B8C-83A1-F6EECF244321}">
                <p14:modId xmlns:p14="http://schemas.microsoft.com/office/powerpoint/2010/main" val="133926339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040F6459-93BB-4F14-8CDE-BF67F2E0C10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360000" y="1476000"/>
            <a:ext cx="4077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pPr/>
              <a:t>‹#›</a:t>
            </a:fld>
            <a:endParaRPr lang="ja-JP" altLang="en-US"/>
          </a:p>
        </p:txBody>
      </p:sp>
      <p:sp>
        <p:nvSpPr>
          <p:cNvPr id="3" name="テキスト プレースホルダー 2"/>
          <p:cNvSpPr>
            <a:spLocks noGrp="1"/>
          </p:cNvSpPr>
          <p:nvPr>
            <p:ph type="body" sz="quarter" idx="12" hasCustomPrompt="1"/>
          </p:nvPr>
        </p:nvSpPr>
        <p:spPr bwMode="gray">
          <a:xfrm>
            <a:off x="360000" y="1008000"/>
            <a:ext cx="4077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360000" y="108000"/>
            <a:ext cx="8424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C8839B8E-DC49-06BE-CA2A-A617EB71C08A}"/>
              </a:ext>
            </a:extLst>
          </p:cNvPr>
          <p:cNvSpPr>
            <a:spLocks noGrp="1"/>
          </p:cNvSpPr>
          <p:nvPr>
            <p:ph type="ftr" sz="quarter" idx="17"/>
          </p:nvPr>
        </p:nvSpPr>
        <p:spPr>
          <a:xfrm>
            <a:off x="548100" y="6588000"/>
            <a:ext cx="3888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946312208"/>
      </p:ext>
    </p:extLst>
  </p:cSld>
  <p:clrMapOvr>
    <a:masterClrMapping/>
  </p:clrMapOvr>
  <p:hf hdr="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F276000-B0DF-4D7D-B4D7-B984F0C2DA24}"/>
              </a:ext>
            </a:extLst>
          </p:cNvPr>
          <p:cNvGraphicFramePr>
            <a:graphicFrameLocks noChangeAspect="1"/>
          </p:cNvGraphicFramePr>
          <p:nvPr userDrawn="1">
            <p:custDataLst>
              <p:tags r:id="rId1"/>
            </p:custDataLst>
            <p:extLst>
              <p:ext uri="{D42A27DB-BD31-4B8C-83A1-F6EECF244321}">
                <p14:modId xmlns:p14="http://schemas.microsoft.com/office/powerpoint/2010/main" val="140102367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3F276000-B0DF-4D7D-B4D7-B984F0C2DA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360000" y="1476000"/>
            <a:ext cx="4077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4707000" y="1476000"/>
            <a:ext cx="4077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pPr/>
              <a:t>‹#›</a:t>
            </a:fld>
            <a:endParaRPr lang="ja-JP" altLang="en-US"/>
          </a:p>
        </p:txBody>
      </p:sp>
      <p:sp>
        <p:nvSpPr>
          <p:cNvPr id="3" name="テキスト プレースホルダー 2"/>
          <p:cNvSpPr>
            <a:spLocks noGrp="1"/>
          </p:cNvSpPr>
          <p:nvPr>
            <p:ph type="body" sz="quarter" idx="15" hasCustomPrompt="1"/>
          </p:nvPr>
        </p:nvSpPr>
        <p:spPr bwMode="gray">
          <a:xfrm>
            <a:off x="360000" y="1008000"/>
            <a:ext cx="4077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4707000" y="1008000"/>
            <a:ext cx="4077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360000" y="108000"/>
            <a:ext cx="8424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10D44422-B5E8-640D-2524-A5A45E92F954}"/>
              </a:ext>
            </a:extLst>
          </p:cNvPr>
          <p:cNvSpPr>
            <a:spLocks noGrp="1"/>
          </p:cNvSpPr>
          <p:nvPr>
            <p:ph type="ftr" sz="quarter" idx="17"/>
          </p:nvPr>
        </p:nvSpPr>
        <p:spPr>
          <a:xfrm>
            <a:off x="548100" y="6588000"/>
            <a:ext cx="3888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48601266"/>
      </p:ext>
    </p:extLst>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F2D0448-4F15-4870-89C3-54C24DB3DF3D}"/>
              </a:ext>
            </a:extLst>
          </p:cNvPr>
          <p:cNvGraphicFramePr>
            <a:graphicFrameLocks noChangeAspect="1"/>
          </p:cNvGraphicFramePr>
          <p:nvPr userDrawn="1">
            <p:custDataLst>
              <p:tags r:id="rId1"/>
            </p:custDataLst>
            <p:extLst>
              <p:ext uri="{D42A27DB-BD31-4B8C-83A1-F6EECF244321}">
                <p14:modId xmlns:p14="http://schemas.microsoft.com/office/powerpoint/2010/main" val="196274843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FF2D0448-4F15-4870-89C3-54C24DB3DF3D}"/>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360000" y="1476000"/>
            <a:ext cx="8424000" cy="4824000"/>
          </a:xfrm>
          <a:prstGeom prst="rect">
            <a:avLst/>
          </a:prstGeom>
        </p:spPr>
        <p:txBody>
          <a:bodyPr/>
          <a:lstStyle>
            <a:lvl1pPr>
              <a:lnSpc>
                <a:spcPct val="110000"/>
              </a:lnSpc>
              <a:spcBef>
                <a:spcPts val="600"/>
              </a:spcBef>
              <a:buFont typeface="Arial" pitchFamily="34" charset="0"/>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360000" y="1008000"/>
            <a:ext cx="4077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360000" y="108000"/>
            <a:ext cx="8424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a:extLst>
              <a:ext uri="{FF2B5EF4-FFF2-40B4-BE49-F238E27FC236}">
                <a16:creationId xmlns:a16="http://schemas.microsoft.com/office/drawing/2014/main" id="{277F1F7E-840F-5189-7EBA-81017B1BCF4A}"/>
              </a:ext>
            </a:extLst>
          </p:cNvPr>
          <p:cNvSpPr>
            <a:spLocks noGrp="1"/>
          </p:cNvSpPr>
          <p:nvPr>
            <p:ph type="ftr" sz="quarter" idx="17"/>
          </p:nvPr>
        </p:nvSpPr>
        <p:spPr>
          <a:xfrm>
            <a:off x="548100" y="6588000"/>
            <a:ext cx="3888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541916774"/>
      </p:ext>
    </p:extLst>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103474465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7703100" y="5472000"/>
            <a:ext cx="1080000" cy="873776"/>
          </a:xfrm>
          <a:prstGeom prst="rect">
            <a:avLst/>
          </a:prstGeom>
        </p:spPr>
      </p:pic>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359100" y="432000"/>
            <a:ext cx="1512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7731129"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359100" y="6372000"/>
            <a:ext cx="5454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359100" y="6660001"/>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extLst>
      <p:ext uri="{BB962C8B-B14F-4D97-AF65-F5344CB8AC3E}">
        <p14:creationId xmlns:p14="http://schemas.microsoft.com/office/powerpoint/2010/main" val="3370641503"/>
      </p:ext>
    </p:extLst>
  </p:cSld>
  <p:clrMapOvr>
    <a:masterClrMapping/>
  </p:clrMapOvr>
  <p:hf hdr="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42971368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7731129"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359100" y="6372000"/>
            <a:ext cx="5454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359100" y="6660001"/>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7703100" y="5472000"/>
            <a:ext cx="1080000" cy="873776"/>
          </a:xfrm>
          <a:prstGeom prst="rect">
            <a:avLst/>
          </a:prstGeom>
        </p:spPr>
      </p:pic>
      <p:pic>
        <p:nvPicPr>
          <p:cNvPr id="9" name="図 8">
            <a:extLst>
              <a:ext uri="{FF2B5EF4-FFF2-40B4-BE49-F238E27FC236}">
                <a16:creationId xmlns:a16="http://schemas.microsoft.com/office/drawing/2014/main" id="{FE41D69D-2433-4D11-814D-C797F4E5053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359100" y="431999"/>
            <a:ext cx="1512000" cy="627200"/>
          </a:xfrm>
          <a:prstGeom prst="rect">
            <a:avLst/>
          </a:prstGeom>
        </p:spPr>
      </p:pic>
    </p:spTree>
    <p:extLst>
      <p:ext uri="{BB962C8B-B14F-4D97-AF65-F5344CB8AC3E}">
        <p14:creationId xmlns:p14="http://schemas.microsoft.com/office/powerpoint/2010/main" val="1498545198"/>
      </p:ext>
    </p:extLst>
  </p:cSld>
  <p:clrMapOvr>
    <a:masterClrMapping/>
  </p:clrMapOvr>
  <p:hf hdr="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1404651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7703100" y="5472000"/>
            <a:ext cx="1080000" cy="873776"/>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7731129"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359100" y="6372000"/>
            <a:ext cx="5454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359100" y="6660001"/>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501A15D5-7B51-4B9F-8EF0-8D771BACAF7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359101" y="431005"/>
            <a:ext cx="2791091" cy="632962"/>
          </a:xfrm>
          <a:prstGeom prst="rect">
            <a:avLst/>
          </a:prstGeom>
          <a:noFill/>
          <a:ln>
            <a:noFill/>
          </a:ln>
        </p:spPr>
      </p:pic>
    </p:spTree>
    <p:extLst>
      <p:ext uri="{BB962C8B-B14F-4D97-AF65-F5344CB8AC3E}">
        <p14:creationId xmlns:p14="http://schemas.microsoft.com/office/powerpoint/2010/main" val="3612372367"/>
      </p:ext>
    </p:extLst>
  </p:cSld>
  <p:clrMapOvr>
    <a:masterClrMapping/>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26973516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7731129"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359100" y="6372000"/>
            <a:ext cx="5454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359100" y="6660001"/>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7703100" y="5472000"/>
            <a:ext cx="1080000" cy="873776"/>
          </a:xfrm>
          <a:prstGeom prst="rect">
            <a:avLst/>
          </a:prstGeom>
        </p:spPr>
      </p:pic>
      <p:pic>
        <p:nvPicPr>
          <p:cNvPr id="10" name="図 9">
            <a:extLst>
              <a:ext uri="{FF2B5EF4-FFF2-40B4-BE49-F238E27FC236}">
                <a16:creationId xmlns:a16="http://schemas.microsoft.com/office/drawing/2014/main" id="{9C0938ED-B2BE-4693-8FA5-820BAD918B8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359100" y="431997"/>
            <a:ext cx="2794458" cy="632962"/>
          </a:xfrm>
          <a:prstGeom prst="rect">
            <a:avLst/>
          </a:prstGeom>
        </p:spPr>
      </p:pic>
    </p:spTree>
    <p:extLst>
      <p:ext uri="{BB962C8B-B14F-4D97-AF65-F5344CB8AC3E}">
        <p14:creationId xmlns:p14="http://schemas.microsoft.com/office/powerpoint/2010/main" val="2171607969"/>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02286080"/>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Power Library &amp; Appendix</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384458" y="1008000"/>
            <a:ext cx="4020923"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60264293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238136555"/>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384924" y="1476000"/>
            <a:ext cx="4020923"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4738154" y="1476000"/>
            <a:ext cx="4020923"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351610040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46549097"/>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950399" y="2232000"/>
            <a:ext cx="4785231" cy="432000"/>
          </a:xfrm>
          <a:prstGeom prst="rect">
            <a:avLst/>
          </a:prstGeom>
          <a:noFill/>
        </p:spPr>
        <p:txBody>
          <a:bodyPr wrap="square" lIns="0" rIns="0" anchor="t" anchorCtr="0">
            <a:noAutofit/>
          </a:bodyPr>
          <a:lstStyle>
            <a:lvl1pPr marL="0" indent="0" algn="l">
              <a:lnSpc>
                <a:spcPct val="100000"/>
              </a:lnSpc>
              <a:spcBef>
                <a:spcPts val="0"/>
              </a:spcBef>
              <a:buNone/>
              <a:defRPr sz="3446"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a:xfrm>
            <a:off x="548100" y="6588000"/>
            <a:ext cx="3888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2331200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548472800"/>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384458" y="1476000"/>
            <a:ext cx="4020923"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marR="0" indent="-177235" algn="l" defTabSz="1217277" rtl="0" eaLnBrk="1" fontAlgn="auto" latinLnBrk="0" hangingPunct="1">
              <a:lnSpc>
                <a:spcPct val="110000"/>
              </a:lnSpc>
              <a:spcBef>
                <a:spcPts val="738"/>
              </a:spcBef>
              <a:spcAft>
                <a:spcPts val="0"/>
              </a:spcAft>
              <a:buClrTx/>
              <a:buSzTx/>
              <a:buFont typeface="Arial" pitchFamily="34" charset="0"/>
              <a:buChar char="•"/>
              <a:tabLst/>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4737589" y="1476000"/>
            <a:ext cx="4020923"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a:xfrm>
            <a:off x="548100" y="6588000"/>
            <a:ext cx="3888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384458" y="1008000"/>
            <a:ext cx="4020923"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4737589" y="1008000"/>
            <a:ext cx="4020923"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2187659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99005202"/>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384922" y="1476000"/>
            <a:ext cx="8374154" cy="4824000"/>
          </a:xfrm>
          <a:prstGeom prst="rect">
            <a:avLst/>
          </a:prstGeom>
        </p:spPr>
        <p:txBody>
          <a:bodyPr/>
          <a:lstStyle>
            <a:lvl1pPr>
              <a:lnSpc>
                <a:spcPct val="110000"/>
              </a:lnSpc>
              <a:spcBef>
                <a:spcPts val="738"/>
              </a:spcBef>
              <a:buFont typeface="Arial" pitchFamily="34" charset="0"/>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a:xfrm>
            <a:off x="548100" y="6588000"/>
            <a:ext cx="3888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384458" y="1008000"/>
            <a:ext cx="4020923"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6347326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428125917"/>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548100" y="6588000"/>
            <a:ext cx="3888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747385" y="2340000"/>
            <a:ext cx="5649231"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14171248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1592270"/>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384458" y="1008000"/>
            <a:ext cx="4020923"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4139035198"/>
      </p:ext>
    </p:extLst>
  </p:cSld>
  <p:clrMapOvr>
    <a:masterClrMapping/>
  </p:clrMapOvr>
  <p:hf hdr="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9501527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359100" y="432000"/>
            <a:ext cx="1512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7731129"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359100" y="6372000"/>
            <a:ext cx="6615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359100" y="6660001"/>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4. For information, contact Deloitte Tohmatsu Group.</a:t>
            </a:r>
          </a:p>
        </p:txBody>
      </p:sp>
      <p:grpSp>
        <p:nvGrpSpPr>
          <p:cNvPr id="8" name="グループ化 7">
            <a:extLst>
              <a:ext uri="{FF2B5EF4-FFF2-40B4-BE49-F238E27FC236}">
                <a16:creationId xmlns:a16="http://schemas.microsoft.com/office/drawing/2014/main" id="{6D3A5278-6D4D-48CD-B33F-E16518FBA520}"/>
              </a:ext>
            </a:extLst>
          </p:cNvPr>
          <p:cNvGrpSpPr/>
          <p:nvPr userDrawn="1"/>
        </p:nvGrpSpPr>
        <p:grpSpPr>
          <a:xfrm>
            <a:off x="7703100" y="4114801"/>
            <a:ext cx="1080000"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EE572D97-F5AE-4209-9B5E-6F62708DD6F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174BAC09-EE91-4451-95F8-BA04B238569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2417628554"/>
      </p:ext>
    </p:extLst>
  </p:cSld>
  <p:clrMapOvr>
    <a:masterClrMapping/>
  </p:clrMapOvr>
  <p:hf hdr="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72E5A2AA-8632-4C90-834B-AAF8FA2847A7}"/>
              </a:ext>
            </a:extLst>
          </p:cNvPr>
          <p:cNvGraphicFramePr>
            <a:graphicFrameLocks noChangeAspect="1"/>
          </p:cNvGraphicFramePr>
          <p:nvPr userDrawn="1">
            <p:custDataLst>
              <p:tags r:id="rId1"/>
            </p:custDataLst>
            <p:extLst>
              <p:ext uri="{D42A27DB-BD31-4B8C-83A1-F6EECF244321}">
                <p14:modId xmlns:p14="http://schemas.microsoft.com/office/powerpoint/2010/main" val="309442082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72E5A2AA-8632-4C90-834B-AAF8FA2847A7}"/>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749500" y="999000"/>
            <a:ext cx="3645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359099" y="5292000"/>
            <a:ext cx="4212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59099" y="5760002"/>
            <a:ext cx="4212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59099" y="6408000"/>
            <a:ext cx="4212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571999" y="396000"/>
            <a:ext cx="4212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359100" y="432001"/>
            <a:ext cx="1512000" cy="633201"/>
          </a:xfrm>
          <a:prstGeom prst="rect">
            <a:avLst/>
          </a:prstGeom>
        </p:spPr>
      </p:pic>
      <p:sp>
        <p:nvSpPr>
          <p:cNvPr id="6" name="日付プレースホルダー 5">
            <a:extLst>
              <a:ext uri="{FF2B5EF4-FFF2-40B4-BE49-F238E27FC236}">
                <a16:creationId xmlns:a16="http://schemas.microsoft.com/office/drawing/2014/main" id="{F26CE00B-EF0F-41D9-B6BD-2D199AF6C07D}"/>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526339623"/>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F3F91AC-B9F8-4593-AC14-9A64CBC99950}"/>
              </a:ext>
            </a:extLst>
          </p:cNvPr>
          <p:cNvGraphicFramePr>
            <a:graphicFrameLocks noChangeAspect="1"/>
          </p:cNvGraphicFramePr>
          <p:nvPr userDrawn="1">
            <p:custDataLst>
              <p:tags r:id="rId1"/>
            </p:custDataLst>
            <p:extLst>
              <p:ext uri="{D42A27DB-BD31-4B8C-83A1-F6EECF244321}">
                <p14:modId xmlns:p14="http://schemas.microsoft.com/office/powerpoint/2010/main" val="316325476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8F3F91AC-B9F8-4593-AC14-9A64CBC99950}"/>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749500" y="999000"/>
            <a:ext cx="3645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359100" y="5292000"/>
            <a:ext cx="4212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59100" y="5760002"/>
            <a:ext cx="4212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59100" y="6408000"/>
            <a:ext cx="4212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123FC496-31C5-46DB-A99D-560417973E7D}"/>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381545989"/>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A7976D6E-C49A-4F4A-AE13-FFFBECE61404}"/>
              </a:ext>
            </a:extLst>
          </p:cNvPr>
          <p:cNvGraphicFramePr>
            <a:graphicFrameLocks noChangeAspect="1"/>
          </p:cNvGraphicFramePr>
          <p:nvPr userDrawn="1">
            <p:custDataLst>
              <p:tags r:id="rId1"/>
            </p:custDataLst>
            <p:extLst>
              <p:ext uri="{D42A27DB-BD31-4B8C-83A1-F6EECF244321}">
                <p14:modId xmlns:p14="http://schemas.microsoft.com/office/powerpoint/2010/main" val="284620103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A7976D6E-C49A-4F4A-AE13-FFFBECE6140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749500" y="999000"/>
            <a:ext cx="3645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359100" y="5292000"/>
            <a:ext cx="4212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59100" y="5760002"/>
            <a:ext cx="4212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59100" y="6408000"/>
            <a:ext cx="4212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571100" y="396000"/>
            <a:ext cx="4212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359100" y="431999"/>
            <a:ext cx="1512000" cy="627200"/>
          </a:xfrm>
          <a:prstGeom prst="rect">
            <a:avLst/>
          </a:prstGeom>
        </p:spPr>
      </p:pic>
      <p:sp>
        <p:nvSpPr>
          <p:cNvPr id="6" name="日付プレースホルダー 5">
            <a:extLst>
              <a:ext uri="{FF2B5EF4-FFF2-40B4-BE49-F238E27FC236}">
                <a16:creationId xmlns:a16="http://schemas.microsoft.com/office/drawing/2014/main" id="{3C714361-BA49-499D-BC89-8E0AF24FD365}"/>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269624074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a:extLst>
              <a:ext uri="{FF2B5EF4-FFF2-40B4-BE49-F238E27FC236}">
                <a16:creationId xmlns:a16="http://schemas.microsoft.com/office/drawing/2014/main" id="{8145FA22-8B15-8165-6374-D653E8B173C9}"/>
              </a:ext>
            </a:extLst>
          </p:cNvPr>
          <p:cNvSpPr/>
          <p:nvPr userDrawn="1"/>
        </p:nvSpPr>
        <p:spPr>
          <a:xfrm>
            <a:off x="89298" y="728663"/>
            <a:ext cx="8965406"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a:p>
        </p:txBody>
      </p:sp>
      <p:sp>
        <p:nvSpPr>
          <p:cNvPr id="15" name="タイトル 66"/>
          <p:cNvSpPr>
            <a:spLocks noGrp="1"/>
          </p:cNvSpPr>
          <p:nvPr>
            <p:ph type="title" hasCustomPrompt="1"/>
          </p:nvPr>
        </p:nvSpPr>
        <p:spPr>
          <a:xfrm>
            <a:off x="562969" y="2520667"/>
            <a:ext cx="8194031"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562969" y="4704321"/>
            <a:ext cx="8194031" cy="553998"/>
          </a:xfrm>
          <a:prstGeom prst="rect">
            <a:avLst/>
          </a:prstGeom>
          <a:noFill/>
        </p:spPr>
        <p:txBody>
          <a:bodyPr wrap="square" lIns="0" tIns="0" rIns="0" bIns="0" anchor="t" anchorCtr="0">
            <a:noAutofit/>
          </a:bodyPr>
          <a:lstStyle>
            <a:lvl1pPr marL="0" indent="0" defTabSz="158400">
              <a:lnSpc>
                <a:spcPct val="100000"/>
              </a:lnSpc>
              <a:spcBef>
                <a:spcPts val="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562971" y="1653463"/>
            <a:ext cx="8194030"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pic>
        <p:nvPicPr>
          <p:cNvPr id="3" name="図 2" descr="テキスト&#10;&#10;中程度の精度で自動的に生成された説明">
            <a:extLst>
              <a:ext uri="{FF2B5EF4-FFF2-40B4-BE49-F238E27FC236}">
                <a16:creationId xmlns:a16="http://schemas.microsoft.com/office/drawing/2014/main" id="{64AB173A-EA3B-7645-9D0D-8E3868B4053B}"/>
              </a:ext>
            </a:extLst>
          </p:cNvPr>
          <p:cNvPicPr>
            <a:picLocks noChangeAspect="1"/>
          </p:cNvPicPr>
          <p:nvPr userDrawn="1"/>
        </p:nvPicPr>
        <p:blipFill>
          <a:blip r:embed="rId2"/>
          <a:stretch>
            <a:fillRect/>
          </a:stretch>
        </p:blipFill>
        <p:spPr>
          <a:xfrm>
            <a:off x="7447526" y="66263"/>
            <a:ext cx="1636518" cy="662400"/>
          </a:xfrm>
          <a:prstGeom prst="rect">
            <a:avLst/>
          </a:prstGeom>
        </p:spPr>
      </p:pic>
    </p:spTree>
    <p:extLst>
      <p:ext uri="{BB962C8B-B14F-4D97-AF65-F5344CB8AC3E}">
        <p14:creationId xmlns:p14="http://schemas.microsoft.com/office/powerpoint/2010/main" val="2792484236"/>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84D28BC-667A-4B82-8BF2-52395A1B866F}"/>
              </a:ext>
            </a:extLst>
          </p:cNvPr>
          <p:cNvGraphicFramePr>
            <a:graphicFrameLocks noChangeAspect="1"/>
          </p:cNvGraphicFramePr>
          <p:nvPr userDrawn="1">
            <p:custDataLst>
              <p:tags r:id="rId1"/>
            </p:custDataLst>
            <p:extLst>
              <p:ext uri="{D42A27DB-BD31-4B8C-83A1-F6EECF244321}">
                <p14:modId xmlns:p14="http://schemas.microsoft.com/office/powerpoint/2010/main" val="45819936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B84D28BC-667A-4B82-8BF2-52395A1B866F}"/>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749500" y="999000"/>
            <a:ext cx="3645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359099" y="5292000"/>
            <a:ext cx="4212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59099" y="5760002"/>
            <a:ext cx="4212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59099" y="6408000"/>
            <a:ext cx="4212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9E461804-808B-4C49-B40D-446D892A3BF8}"/>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3833072194"/>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6642530-2487-4EE6-BEA5-E8FB44599D74}"/>
              </a:ext>
            </a:extLst>
          </p:cNvPr>
          <p:cNvGraphicFramePr>
            <a:graphicFrameLocks noChangeAspect="1"/>
          </p:cNvGraphicFramePr>
          <p:nvPr userDrawn="1">
            <p:custDataLst>
              <p:tags r:id="rId1"/>
            </p:custDataLst>
            <p:extLst>
              <p:ext uri="{D42A27DB-BD31-4B8C-83A1-F6EECF244321}">
                <p14:modId xmlns:p14="http://schemas.microsoft.com/office/powerpoint/2010/main" val="279763026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3" name="オブジェクト 2" hidden="1">
                        <a:extLst>
                          <a:ext uri="{FF2B5EF4-FFF2-40B4-BE49-F238E27FC236}">
                            <a16:creationId xmlns:a16="http://schemas.microsoft.com/office/drawing/2014/main" id="{D6642530-2487-4EE6-BEA5-E8FB44599D7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8C8D86AF-9D9D-4067-A4BC-C728044F77F8}"/>
              </a:ext>
            </a:extLst>
          </p:cNvPr>
          <p:cNvSpPr/>
          <p:nvPr userDrawn="1">
            <p:custDataLst>
              <p:tags r:id="rId2"/>
            </p:custDataLst>
          </p:nvPr>
        </p:nvSpPr>
        <p:spPr bwMode="gray">
          <a:xfrm>
            <a:off x="0" y="0"/>
            <a:ext cx="119063" cy="1587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360000" y="1476000"/>
            <a:ext cx="4077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4707000" y="1476000"/>
            <a:ext cx="4077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360000" y="108000"/>
            <a:ext cx="8424000" cy="738000"/>
          </a:xfrm>
        </p:spPr>
        <p:txBody>
          <a:bodyPr/>
          <a:lstStyle>
            <a:lvl1pPr>
              <a:defRPr baseline="0">
                <a:latin typeface="+mj-lt"/>
                <a:ea typeface="+mj-ea"/>
              </a:defRPr>
            </a:lvl1pPr>
          </a:lstStyle>
          <a:p>
            <a:r>
              <a:rPr kumimoji="1" lang="ja-JP" altLang="en-US"/>
              <a:t>マスター タイトルの書式設定</a:t>
            </a:r>
          </a:p>
        </p:txBody>
      </p:sp>
    </p:spTree>
    <p:extLst>
      <p:ext uri="{BB962C8B-B14F-4D97-AF65-F5344CB8AC3E}">
        <p14:creationId xmlns:p14="http://schemas.microsoft.com/office/powerpoint/2010/main" val="3403224066"/>
      </p:ext>
    </p:extLst>
  </p:cSld>
  <p:clrMapOvr>
    <a:masterClrMapping/>
  </p:clrMapOvr>
  <p:hf hdr="0"/>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96388208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197000" y="2556000"/>
            <a:ext cx="675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a:extLst>
              <a:ext uri="{FF2B5EF4-FFF2-40B4-BE49-F238E27FC236}">
                <a16:creationId xmlns:a16="http://schemas.microsoft.com/office/drawing/2014/main" id="{6273600F-CF7E-B990-6162-16B9B8D81E57}"/>
              </a:ext>
            </a:extLst>
          </p:cNvPr>
          <p:cNvSpPr>
            <a:spLocks noGrp="1"/>
          </p:cNvSpPr>
          <p:nvPr>
            <p:ph type="ftr" sz="quarter" idx="17"/>
          </p:nvPr>
        </p:nvSpPr>
        <p:spPr>
          <a:xfrm>
            <a:off x="548100" y="6588000"/>
            <a:ext cx="3888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913804407"/>
      </p:ext>
    </p:extLst>
  </p:cSld>
  <p:clrMapOvr>
    <a:masterClrMapping/>
  </p:clrMapOvr>
  <p:hf hdr="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CBD7C55F-79D3-4D3C-BF22-E2499EF30284}"/>
              </a:ext>
            </a:extLst>
          </p:cNvPr>
          <p:cNvGraphicFramePr>
            <a:graphicFrameLocks noChangeAspect="1"/>
          </p:cNvGraphicFramePr>
          <p:nvPr userDrawn="1">
            <p:custDataLst>
              <p:tags r:id="rId1"/>
            </p:custDataLst>
            <p:extLst>
              <p:ext uri="{D42A27DB-BD31-4B8C-83A1-F6EECF244321}">
                <p14:modId xmlns:p14="http://schemas.microsoft.com/office/powerpoint/2010/main" val="312700426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CBD7C55F-79D3-4D3C-BF22-E2499EF3028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764100" y="2232000"/>
            <a:ext cx="4698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3" name="フッター プレースホルダー 5">
            <a:extLst>
              <a:ext uri="{FF2B5EF4-FFF2-40B4-BE49-F238E27FC236}">
                <a16:creationId xmlns:a16="http://schemas.microsoft.com/office/drawing/2014/main" id="{FB658550-42CB-E14E-14DD-356EFBB48BE2}"/>
              </a:ext>
            </a:extLst>
          </p:cNvPr>
          <p:cNvSpPr>
            <a:spLocks noGrp="1"/>
          </p:cNvSpPr>
          <p:nvPr>
            <p:ph type="ftr" sz="quarter" idx="17"/>
          </p:nvPr>
        </p:nvSpPr>
        <p:spPr>
          <a:xfrm>
            <a:off x="548100" y="6588000"/>
            <a:ext cx="3888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750688895"/>
      </p:ext>
    </p:extLst>
  </p:cSld>
  <p:clrMapOvr>
    <a:masterClrMapping/>
  </p:clrMapOvr>
  <p:hf hdr="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67709634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359099" y="1008000"/>
            <a:ext cx="4077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a:extLst>
              <a:ext uri="{FF2B5EF4-FFF2-40B4-BE49-F238E27FC236}">
                <a16:creationId xmlns:a16="http://schemas.microsoft.com/office/drawing/2014/main" id="{D6382723-BDF8-412A-A400-B577A3A76D3C}"/>
              </a:ext>
            </a:extLst>
          </p:cNvPr>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a:extLst>
              <a:ext uri="{FF2B5EF4-FFF2-40B4-BE49-F238E27FC236}">
                <a16:creationId xmlns:a16="http://schemas.microsoft.com/office/drawing/2014/main" id="{5077665D-3395-4371-A62E-F9F868484345}"/>
              </a:ext>
            </a:extLst>
          </p:cNvPr>
          <p:cNvSpPr>
            <a:spLocks noGrp="1"/>
          </p:cNvSpPr>
          <p:nvPr>
            <p:ph type="sldNum" sz="quarter" idx="18"/>
          </p:nvPr>
        </p:nvSpPr>
        <p:spPr/>
        <p:txBody>
          <a:bodyPr/>
          <a:lstStyle/>
          <a:p>
            <a:fld id="{AA5FCFE5-FE56-4EF1-80A8-07776887C2A1}" type="slidenum">
              <a:rPr lang="ja-JP" altLang="en-US" smtClean="0"/>
              <a:pPr/>
              <a:t>‹#›</a:t>
            </a:fld>
            <a:endParaRPr lang="ja-JP" altLang="en-US"/>
          </a:p>
        </p:txBody>
      </p:sp>
      <p:sp>
        <p:nvSpPr>
          <p:cNvPr id="3" name="フッター プレースホルダー 5">
            <a:extLst>
              <a:ext uri="{FF2B5EF4-FFF2-40B4-BE49-F238E27FC236}">
                <a16:creationId xmlns:a16="http://schemas.microsoft.com/office/drawing/2014/main" id="{E31F8DD1-3F3E-D752-E559-D2F93B0185EE}"/>
              </a:ext>
            </a:extLst>
          </p:cNvPr>
          <p:cNvSpPr>
            <a:spLocks noGrp="1"/>
          </p:cNvSpPr>
          <p:nvPr>
            <p:ph type="ftr" sz="quarter" idx="17"/>
          </p:nvPr>
        </p:nvSpPr>
        <p:spPr>
          <a:xfrm>
            <a:off x="548100" y="6588000"/>
            <a:ext cx="3888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096250922"/>
      </p:ext>
    </p:extLst>
  </p:cSld>
  <p:clrMapOvr>
    <a:masterClrMapping/>
  </p:clrMapOvr>
  <p:hf hdr="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92658031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359099" y="180000"/>
            <a:ext cx="8424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360000" y="684000"/>
            <a:ext cx="8424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D32A95D4-7938-BBEE-26F6-A6CBD155113D}"/>
              </a:ext>
            </a:extLst>
          </p:cNvPr>
          <p:cNvSpPr>
            <a:spLocks noGrp="1"/>
          </p:cNvSpPr>
          <p:nvPr>
            <p:ph type="ftr" sz="quarter" idx="17"/>
          </p:nvPr>
        </p:nvSpPr>
        <p:spPr>
          <a:xfrm>
            <a:off x="548100" y="6588000"/>
            <a:ext cx="3888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198289505"/>
      </p:ext>
    </p:extLst>
  </p:cSld>
  <p:clrMapOvr>
    <a:masterClrMapping/>
  </p:clrMapOvr>
  <p:hf hdr="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040F6459-93BB-4F14-8CDE-BF67F2E0C10C}"/>
              </a:ext>
            </a:extLst>
          </p:cNvPr>
          <p:cNvGraphicFramePr>
            <a:graphicFrameLocks noChangeAspect="1"/>
          </p:cNvGraphicFramePr>
          <p:nvPr userDrawn="1">
            <p:custDataLst>
              <p:tags r:id="rId1"/>
            </p:custDataLst>
            <p:extLst>
              <p:ext uri="{D42A27DB-BD31-4B8C-83A1-F6EECF244321}">
                <p14:modId xmlns:p14="http://schemas.microsoft.com/office/powerpoint/2010/main" val="133926339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040F6459-93BB-4F14-8CDE-BF67F2E0C10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360000" y="1476000"/>
            <a:ext cx="4077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pPr/>
              <a:t>‹#›</a:t>
            </a:fld>
            <a:endParaRPr lang="ja-JP" altLang="en-US"/>
          </a:p>
        </p:txBody>
      </p:sp>
      <p:sp>
        <p:nvSpPr>
          <p:cNvPr id="3" name="テキスト プレースホルダー 2"/>
          <p:cNvSpPr>
            <a:spLocks noGrp="1"/>
          </p:cNvSpPr>
          <p:nvPr>
            <p:ph type="body" sz="quarter" idx="12" hasCustomPrompt="1"/>
          </p:nvPr>
        </p:nvSpPr>
        <p:spPr bwMode="gray">
          <a:xfrm>
            <a:off x="360000" y="1008000"/>
            <a:ext cx="4077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360000" y="108000"/>
            <a:ext cx="8424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C8839B8E-DC49-06BE-CA2A-A617EB71C08A}"/>
              </a:ext>
            </a:extLst>
          </p:cNvPr>
          <p:cNvSpPr>
            <a:spLocks noGrp="1"/>
          </p:cNvSpPr>
          <p:nvPr>
            <p:ph type="ftr" sz="quarter" idx="17"/>
          </p:nvPr>
        </p:nvSpPr>
        <p:spPr>
          <a:xfrm>
            <a:off x="548100" y="6588000"/>
            <a:ext cx="3888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318050554"/>
      </p:ext>
    </p:extLst>
  </p:cSld>
  <p:clrMapOvr>
    <a:masterClrMapping/>
  </p:clrMapOvr>
  <p:hf hdr="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F276000-B0DF-4D7D-B4D7-B984F0C2DA24}"/>
              </a:ext>
            </a:extLst>
          </p:cNvPr>
          <p:cNvGraphicFramePr>
            <a:graphicFrameLocks noChangeAspect="1"/>
          </p:cNvGraphicFramePr>
          <p:nvPr userDrawn="1">
            <p:custDataLst>
              <p:tags r:id="rId1"/>
            </p:custDataLst>
            <p:extLst>
              <p:ext uri="{D42A27DB-BD31-4B8C-83A1-F6EECF244321}">
                <p14:modId xmlns:p14="http://schemas.microsoft.com/office/powerpoint/2010/main" val="140102367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3F276000-B0DF-4D7D-B4D7-B984F0C2DA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360000" y="1476000"/>
            <a:ext cx="4077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4707000" y="1476000"/>
            <a:ext cx="4077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pPr/>
              <a:t>‹#›</a:t>
            </a:fld>
            <a:endParaRPr lang="ja-JP" altLang="en-US"/>
          </a:p>
        </p:txBody>
      </p:sp>
      <p:sp>
        <p:nvSpPr>
          <p:cNvPr id="3" name="テキスト プレースホルダー 2"/>
          <p:cNvSpPr>
            <a:spLocks noGrp="1"/>
          </p:cNvSpPr>
          <p:nvPr>
            <p:ph type="body" sz="quarter" idx="15" hasCustomPrompt="1"/>
          </p:nvPr>
        </p:nvSpPr>
        <p:spPr bwMode="gray">
          <a:xfrm>
            <a:off x="360000" y="1008000"/>
            <a:ext cx="4077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4707000" y="1008000"/>
            <a:ext cx="4077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360000" y="108000"/>
            <a:ext cx="8424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10D44422-B5E8-640D-2524-A5A45E92F954}"/>
              </a:ext>
            </a:extLst>
          </p:cNvPr>
          <p:cNvSpPr>
            <a:spLocks noGrp="1"/>
          </p:cNvSpPr>
          <p:nvPr>
            <p:ph type="ftr" sz="quarter" idx="17"/>
          </p:nvPr>
        </p:nvSpPr>
        <p:spPr>
          <a:xfrm>
            <a:off x="548100" y="6588000"/>
            <a:ext cx="3888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4084728406"/>
      </p:ext>
    </p:extLst>
  </p:cSld>
  <p:clrMapOvr>
    <a:masterClrMapping/>
  </p:clrMapOvr>
  <p:hf hdr="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F2D0448-4F15-4870-89C3-54C24DB3DF3D}"/>
              </a:ext>
            </a:extLst>
          </p:cNvPr>
          <p:cNvGraphicFramePr>
            <a:graphicFrameLocks noChangeAspect="1"/>
          </p:cNvGraphicFramePr>
          <p:nvPr userDrawn="1">
            <p:custDataLst>
              <p:tags r:id="rId1"/>
            </p:custDataLst>
            <p:extLst>
              <p:ext uri="{D42A27DB-BD31-4B8C-83A1-F6EECF244321}">
                <p14:modId xmlns:p14="http://schemas.microsoft.com/office/powerpoint/2010/main" val="196274843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FF2D0448-4F15-4870-89C3-54C24DB3DF3D}"/>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360000" y="1476000"/>
            <a:ext cx="8424000" cy="4824000"/>
          </a:xfrm>
          <a:prstGeom prst="rect">
            <a:avLst/>
          </a:prstGeom>
        </p:spPr>
        <p:txBody>
          <a:bodyPr/>
          <a:lstStyle>
            <a:lvl1pPr>
              <a:lnSpc>
                <a:spcPct val="110000"/>
              </a:lnSpc>
              <a:spcBef>
                <a:spcPts val="600"/>
              </a:spcBef>
              <a:buFont typeface="Arial" pitchFamily="34" charset="0"/>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360000" y="1008000"/>
            <a:ext cx="4077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360000" y="108000"/>
            <a:ext cx="8424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a:extLst>
              <a:ext uri="{FF2B5EF4-FFF2-40B4-BE49-F238E27FC236}">
                <a16:creationId xmlns:a16="http://schemas.microsoft.com/office/drawing/2014/main" id="{277F1F7E-840F-5189-7EBA-81017B1BCF4A}"/>
              </a:ext>
            </a:extLst>
          </p:cNvPr>
          <p:cNvSpPr>
            <a:spLocks noGrp="1"/>
          </p:cNvSpPr>
          <p:nvPr>
            <p:ph type="ftr" sz="quarter" idx="17"/>
          </p:nvPr>
        </p:nvSpPr>
        <p:spPr>
          <a:xfrm>
            <a:off x="548100" y="6588000"/>
            <a:ext cx="3888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4190798259"/>
      </p:ext>
    </p:extLst>
  </p:cSld>
  <p:clrMapOvr>
    <a:masterClrMapping/>
  </p:clrMapOvr>
  <p:hf hdr="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103474465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7703100" y="5472000"/>
            <a:ext cx="1080000" cy="873776"/>
          </a:xfrm>
          <a:prstGeom prst="rect">
            <a:avLst/>
          </a:prstGeom>
        </p:spPr>
      </p:pic>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359100" y="432000"/>
            <a:ext cx="1512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7731129"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359100" y="6372000"/>
            <a:ext cx="5454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359100" y="6660001"/>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extLst>
      <p:ext uri="{BB962C8B-B14F-4D97-AF65-F5344CB8AC3E}">
        <p14:creationId xmlns:p14="http://schemas.microsoft.com/office/powerpoint/2010/main" val="3570051598"/>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1A1BC9BC-7E85-1F07-EBFA-39A9BB38A2B7}"/>
              </a:ext>
            </a:extLst>
          </p:cNvPr>
          <p:cNvSpPr/>
          <p:nvPr userDrawn="1"/>
        </p:nvSpPr>
        <p:spPr>
          <a:xfrm>
            <a:off x="89298" y="728663"/>
            <a:ext cx="8965406"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a:p>
        </p:txBody>
      </p:sp>
      <p:sp>
        <p:nvSpPr>
          <p:cNvPr id="16" name="テキスト プレースホルダー 28">
            <a:extLst>
              <a:ext uri="{FF2B5EF4-FFF2-40B4-BE49-F238E27FC236}">
                <a16:creationId xmlns:a16="http://schemas.microsoft.com/office/drawing/2014/main" id="{AA5ACE5D-BCC4-7FAF-258F-580CB021B585}"/>
              </a:ext>
            </a:extLst>
          </p:cNvPr>
          <p:cNvSpPr>
            <a:spLocks noGrp="1"/>
          </p:cNvSpPr>
          <p:nvPr>
            <p:ph type="body" sz="quarter" idx="11" hasCustomPrompt="1"/>
          </p:nvPr>
        </p:nvSpPr>
        <p:spPr>
          <a:xfrm>
            <a:off x="562969" y="4235914"/>
            <a:ext cx="8194031" cy="276999"/>
          </a:xfrm>
          <a:prstGeom prst="rect">
            <a:avLst/>
          </a:prstGeom>
          <a:noFill/>
        </p:spPr>
        <p:txBody>
          <a:bodyPr wrap="square" lIns="0" tIns="0" rIns="0" bIns="0" anchor="t" anchorCtr="0">
            <a:noAutofit/>
          </a:bodyPr>
          <a:lstStyle>
            <a:lvl1pPr marL="0" indent="0" defTabSz="158400">
              <a:lnSpc>
                <a:spcPct val="100000"/>
              </a:lnSpc>
              <a:spcBef>
                <a:spcPts val="50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a:extLst>
              <a:ext uri="{FF2B5EF4-FFF2-40B4-BE49-F238E27FC236}">
                <a16:creationId xmlns:a16="http://schemas.microsoft.com/office/drawing/2014/main" id="{3A40C814-17D5-4A7E-7A78-30BC828E8294}"/>
              </a:ext>
            </a:extLst>
          </p:cNvPr>
          <p:cNvSpPr>
            <a:spLocks noGrp="1"/>
          </p:cNvSpPr>
          <p:nvPr>
            <p:ph type="title" hasCustomPrompt="1"/>
          </p:nvPr>
        </p:nvSpPr>
        <p:spPr>
          <a:xfrm>
            <a:off x="562969" y="2867723"/>
            <a:ext cx="8194031"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pic>
        <p:nvPicPr>
          <p:cNvPr id="5" name="図 4" descr="テキスト&#10;&#10;中程度の精度で自動的に生成された説明">
            <a:extLst>
              <a:ext uri="{FF2B5EF4-FFF2-40B4-BE49-F238E27FC236}">
                <a16:creationId xmlns:a16="http://schemas.microsoft.com/office/drawing/2014/main" id="{59FEB064-9E10-7E77-2F7C-DF29C7A3F838}"/>
              </a:ext>
            </a:extLst>
          </p:cNvPr>
          <p:cNvPicPr>
            <a:picLocks noChangeAspect="1"/>
          </p:cNvPicPr>
          <p:nvPr userDrawn="1"/>
        </p:nvPicPr>
        <p:blipFill>
          <a:blip r:embed="rId2"/>
          <a:stretch>
            <a:fillRect/>
          </a:stretch>
        </p:blipFill>
        <p:spPr>
          <a:xfrm>
            <a:off x="7447526" y="66263"/>
            <a:ext cx="1636518" cy="662400"/>
          </a:xfrm>
          <a:prstGeom prst="rect">
            <a:avLst/>
          </a:prstGeom>
        </p:spPr>
      </p:pic>
    </p:spTree>
    <p:extLst>
      <p:ext uri="{BB962C8B-B14F-4D97-AF65-F5344CB8AC3E}">
        <p14:creationId xmlns:p14="http://schemas.microsoft.com/office/powerpoint/2010/main" val="256102086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42971368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7731129"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359100" y="6372000"/>
            <a:ext cx="5454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359100" y="6660001"/>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7703100" y="5472000"/>
            <a:ext cx="1080000" cy="873776"/>
          </a:xfrm>
          <a:prstGeom prst="rect">
            <a:avLst/>
          </a:prstGeom>
        </p:spPr>
      </p:pic>
      <p:pic>
        <p:nvPicPr>
          <p:cNvPr id="9" name="図 8">
            <a:extLst>
              <a:ext uri="{FF2B5EF4-FFF2-40B4-BE49-F238E27FC236}">
                <a16:creationId xmlns:a16="http://schemas.microsoft.com/office/drawing/2014/main" id="{FE41D69D-2433-4D11-814D-C797F4E5053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359100" y="431999"/>
            <a:ext cx="1512000" cy="627200"/>
          </a:xfrm>
          <a:prstGeom prst="rect">
            <a:avLst/>
          </a:prstGeom>
        </p:spPr>
      </p:pic>
    </p:spTree>
    <p:extLst>
      <p:ext uri="{BB962C8B-B14F-4D97-AF65-F5344CB8AC3E}">
        <p14:creationId xmlns:p14="http://schemas.microsoft.com/office/powerpoint/2010/main" val="552179560"/>
      </p:ext>
    </p:extLst>
  </p:cSld>
  <p:clrMapOvr>
    <a:masterClrMapping/>
  </p:clrMapOvr>
  <p:hf hdr="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1404651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7703100" y="5472000"/>
            <a:ext cx="1080000" cy="873776"/>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7731129"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359100" y="6372000"/>
            <a:ext cx="5454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359100" y="6660001"/>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501A15D5-7B51-4B9F-8EF0-8D771BACAF7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359101" y="431005"/>
            <a:ext cx="2791091" cy="632962"/>
          </a:xfrm>
          <a:prstGeom prst="rect">
            <a:avLst/>
          </a:prstGeom>
          <a:noFill/>
          <a:ln>
            <a:noFill/>
          </a:ln>
        </p:spPr>
      </p:pic>
    </p:spTree>
    <p:extLst>
      <p:ext uri="{BB962C8B-B14F-4D97-AF65-F5344CB8AC3E}">
        <p14:creationId xmlns:p14="http://schemas.microsoft.com/office/powerpoint/2010/main" val="2252375199"/>
      </p:ext>
    </p:extLst>
  </p:cSld>
  <p:clrMapOvr>
    <a:masterClrMapping/>
  </p:clrMapOvr>
  <p:hf hdr="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26973516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7731129"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359100" y="6372000"/>
            <a:ext cx="5454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359100" y="6660001"/>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7703100" y="5472000"/>
            <a:ext cx="1080000" cy="873776"/>
          </a:xfrm>
          <a:prstGeom prst="rect">
            <a:avLst/>
          </a:prstGeom>
        </p:spPr>
      </p:pic>
      <p:pic>
        <p:nvPicPr>
          <p:cNvPr id="10" name="図 9">
            <a:extLst>
              <a:ext uri="{FF2B5EF4-FFF2-40B4-BE49-F238E27FC236}">
                <a16:creationId xmlns:a16="http://schemas.microsoft.com/office/drawing/2014/main" id="{9C0938ED-B2BE-4693-8FA5-820BAD918B8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359100" y="431997"/>
            <a:ext cx="2794458" cy="632962"/>
          </a:xfrm>
          <a:prstGeom prst="rect">
            <a:avLst/>
          </a:prstGeom>
        </p:spPr>
      </p:pic>
    </p:spTree>
    <p:extLst>
      <p:ext uri="{BB962C8B-B14F-4D97-AF65-F5344CB8AC3E}">
        <p14:creationId xmlns:p14="http://schemas.microsoft.com/office/powerpoint/2010/main" val="1488936238"/>
      </p:ext>
    </p:extLst>
  </p:cSld>
  <p:clrMapOvr>
    <a:masterClrMapping/>
  </p:clrMapOvr>
  <p:hf hdr="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238136555"/>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384924" y="1476000"/>
            <a:ext cx="4020923"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4738154" y="1476000"/>
            <a:ext cx="4020923"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2830627197"/>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46549097"/>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950399" y="2232000"/>
            <a:ext cx="4785231" cy="432000"/>
          </a:xfrm>
          <a:prstGeom prst="rect">
            <a:avLst/>
          </a:prstGeom>
          <a:noFill/>
        </p:spPr>
        <p:txBody>
          <a:bodyPr wrap="square" lIns="0" rIns="0" anchor="t" anchorCtr="0">
            <a:noAutofit/>
          </a:bodyPr>
          <a:lstStyle>
            <a:lvl1pPr marL="0" indent="0" algn="l">
              <a:lnSpc>
                <a:spcPct val="100000"/>
              </a:lnSpc>
              <a:spcBef>
                <a:spcPts val="0"/>
              </a:spcBef>
              <a:buNone/>
              <a:defRPr sz="3446"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a:xfrm>
            <a:off x="548100" y="6588000"/>
            <a:ext cx="3888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652522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548472800"/>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384458" y="1476000"/>
            <a:ext cx="4020923"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marR="0" indent="-177235" algn="l" defTabSz="1217277" rtl="0" eaLnBrk="1" fontAlgn="auto" latinLnBrk="0" hangingPunct="1">
              <a:lnSpc>
                <a:spcPct val="110000"/>
              </a:lnSpc>
              <a:spcBef>
                <a:spcPts val="738"/>
              </a:spcBef>
              <a:spcAft>
                <a:spcPts val="0"/>
              </a:spcAft>
              <a:buClrTx/>
              <a:buSzTx/>
              <a:buFont typeface="Arial" pitchFamily="34" charset="0"/>
              <a:buChar char="•"/>
              <a:tabLst/>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4737589" y="1476000"/>
            <a:ext cx="4020923"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a:xfrm>
            <a:off x="548100" y="6588000"/>
            <a:ext cx="3888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384458" y="1008000"/>
            <a:ext cx="4020923"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4737589" y="1008000"/>
            <a:ext cx="4020923"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10120789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99005202"/>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384922" y="1476000"/>
            <a:ext cx="8374154" cy="4824000"/>
          </a:xfrm>
          <a:prstGeom prst="rect">
            <a:avLst/>
          </a:prstGeom>
        </p:spPr>
        <p:txBody>
          <a:bodyPr/>
          <a:lstStyle>
            <a:lvl1pPr>
              <a:lnSpc>
                <a:spcPct val="110000"/>
              </a:lnSpc>
              <a:spcBef>
                <a:spcPts val="738"/>
              </a:spcBef>
              <a:buFont typeface="Arial" pitchFamily="34" charset="0"/>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a:xfrm>
            <a:off x="548100" y="6588000"/>
            <a:ext cx="3888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384458" y="1008000"/>
            <a:ext cx="4020923"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76838378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428125917"/>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548100" y="6588000"/>
            <a:ext cx="3888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747385" y="2340000"/>
            <a:ext cx="5649231"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418073252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1592270"/>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384458" y="1008000"/>
            <a:ext cx="4020923"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700223113"/>
      </p:ext>
    </p:extLst>
  </p:cSld>
  <p:clrMapOvr>
    <a:masterClrMapping/>
  </p:clrMapOvr>
  <p:hf hdr="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9501527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359100" y="432000"/>
            <a:ext cx="1512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7731129"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359100" y="6372000"/>
            <a:ext cx="6615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359100" y="6660001"/>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5. For information, contact Deloitte Tohmatsu Group.</a:t>
            </a:r>
          </a:p>
        </p:txBody>
      </p:sp>
      <p:grpSp>
        <p:nvGrpSpPr>
          <p:cNvPr id="8" name="グループ化 7">
            <a:extLst>
              <a:ext uri="{FF2B5EF4-FFF2-40B4-BE49-F238E27FC236}">
                <a16:creationId xmlns:a16="http://schemas.microsoft.com/office/drawing/2014/main" id="{6D3A5278-6D4D-48CD-B33F-E16518FBA520}"/>
              </a:ext>
            </a:extLst>
          </p:cNvPr>
          <p:cNvGrpSpPr/>
          <p:nvPr userDrawn="1"/>
        </p:nvGrpSpPr>
        <p:grpSpPr>
          <a:xfrm>
            <a:off x="7703100" y="4114801"/>
            <a:ext cx="1080000"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EE572D97-F5AE-4209-9B5E-6F62708DD6F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174BAC09-EE91-4451-95F8-BA04B238569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3737016179"/>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554A9AD2-A44F-6C4C-90A5-7E0F6615ABFB}"/>
              </a:ext>
            </a:extLst>
          </p:cNvPr>
          <p:cNvSpPr>
            <a:spLocks noGrp="1"/>
          </p:cNvSpPr>
          <p:nvPr>
            <p:ph type="title" hasCustomPrompt="1"/>
          </p:nvPr>
        </p:nvSpPr>
        <p:spPr>
          <a:xfrm>
            <a:off x="310752" y="255264"/>
            <a:ext cx="6995304"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a:extLst>
              <a:ext uri="{FF2B5EF4-FFF2-40B4-BE49-F238E27FC236}">
                <a16:creationId xmlns:a16="http://schemas.microsoft.com/office/drawing/2014/main" id="{F51E5A19-FBB7-6442-9D4F-1E3DFA3936D4}"/>
              </a:ext>
            </a:extLst>
          </p:cNvPr>
          <p:cNvSpPr>
            <a:spLocks noGrp="1"/>
          </p:cNvSpPr>
          <p:nvPr>
            <p:ph sz="quarter" idx="10" hasCustomPrompt="1"/>
          </p:nvPr>
        </p:nvSpPr>
        <p:spPr>
          <a:xfrm>
            <a:off x="310753" y="865415"/>
            <a:ext cx="8662988" cy="5371874"/>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a:extLst>
              <a:ext uri="{FF2B5EF4-FFF2-40B4-BE49-F238E27FC236}">
                <a16:creationId xmlns:a16="http://schemas.microsoft.com/office/drawing/2014/main" id="{CE14A7BB-2994-99E1-3721-81C07CB69B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17073" y="66163"/>
            <a:ext cx="1081068" cy="662901"/>
          </a:xfrm>
          <a:prstGeom prst="rect">
            <a:avLst/>
          </a:prstGeom>
        </p:spPr>
      </p:pic>
    </p:spTree>
    <p:extLst>
      <p:ext uri="{BB962C8B-B14F-4D97-AF65-F5344CB8AC3E}">
        <p14:creationId xmlns:p14="http://schemas.microsoft.com/office/powerpoint/2010/main" val="95272983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表紙_Blue">
    <p:spTree>
      <p:nvGrpSpPr>
        <p:cNvPr id="1" name=""/>
        <p:cNvGrpSpPr/>
        <p:nvPr/>
      </p:nvGrpSpPr>
      <p:grpSpPr>
        <a:xfrm>
          <a:off x="0" y="0"/>
          <a:ext cx="0" cy="0"/>
          <a:chOff x="0" y="0"/>
          <a:chExt cx="0" cy="0"/>
        </a:xfrm>
      </p:grpSpPr>
      <p:sp>
        <p:nvSpPr>
          <p:cNvPr id="12" name="正方形/長方形 11">
            <a:extLst>
              <a:ext uri="{FF2B5EF4-FFF2-40B4-BE49-F238E27FC236}">
                <a16:creationId xmlns:a16="http://schemas.microsoft.com/office/drawing/2014/main" id="{29E7EA3B-A9DB-4486-87A9-0849E422A218}"/>
              </a:ext>
            </a:extLst>
          </p:cNvPr>
          <p:cNvSpPr/>
          <p:nvPr userDrawn="1"/>
        </p:nvSpPr>
        <p:spPr>
          <a:xfrm>
            <a:off x="0" y="908720"/>
            <a:ext cx="9144000" cy="5949280"/>
          </a:xfrm>
          <a:prstGeom prst="rect">
            <a:avLst/>
          </a:prstGeom>
          <a:solidFill>
            <a:srgbClr val="2B7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正方形/長方形 18">
            <a:extLst>
              <a:ext uri="{FF2B5EF4-FFF2-40B4-BE49-F238E27FC236}">
                <a16:creationId xmlns:a16="http://schemas.microsoft.com/office/drawing/2014/main" id="{0A1F5F00-E7B2-4700-B3A0-B2E0961FFB53}"/>
              </a:ext>
            </a:extLst>
          </p:cNvPr>
          <p:cNvSpPr/>
          <p:nvPr userDrawn="1"/>
        </p:nvSpPr>
        <p:spPr>
          <a:xfrm>
            <a:off x="0" y="0"/>
            <a:ext cx="9144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タイトル 1">
            <a:extLst>
              <a:ext uri="{FF2B5EF4-FFF2-40B4-BE49-F238E27FC236}">
                <a16:creationId xmlns:a16="http://schemas.microsoft.com/office/drawing/2014/main" id="{A9E074E3-92F8-42C3-8A85-DAE0D0BA9ABA}"/>
              </a:ext>
            </a:extLst>
          </p:cNvPr>
          <p:cNvSpPr>
            <a:spLocks noGrp="1"/>
          </p:cNvSpPr>
          <p:nvPr userDrawn="1">
            <p:ph type="ctrTitle"/>
          </p:nvPr>
        </p:nvSpPr>
        <p:spPr>
          <a:xfrm>
            <a:off x="323850" y="2130428"/>
            <a:ext cx="8496300" cy="1470025"/>
          </a:xfrm>
        </p:spPr>
        <p:txBody>
          <a:bodyPr>
            <a:normAutofit/>
          </a:bodyPr>
          <a:lstStyle>
            <a:lvl1pPr marL="0" marR="0" indent="0" algn="ctr" defTabSz="914400" rtl="0" eaLnBrk="1" fontAlgn="auto" latinLnBrk="0" hangingPunct="1">
              <a:lnSpc>
                <a:spcPct val="100000"/>
              </a:lnSpc>
              <a:spcBef>
                <a:spcPct val="0"/>
              </a:spcBef>
              <a:spcAft>
                <a:spcPts val="0"/>
              </a:spcAft>
              <a:buClrTx/>
              <a:buSzTx/>
              <a:buFontTx/>
              <a:buNone/>
              <a:tabLst/>
              <a:defRPr lang="en-US" altLang="ja-JP" sz="3600" b="0" i="0" u="none" strike="noStrike" baseline="0" smtClean="0">
                <a:solidFill>
                  <a:schemeClr val="bg1"/>
                </a:solidFill>
                <a:latin typeface="Yu Gothic UI" panose="020B0500000000000000" pitchFamily="50" charset="-128"/>
                <a:ea typeface="Yu Gothic UI" panose="020B0500000000000000" pitchFamily="50" charset="-128"/>
                <a:cs typeface="Arial" panose="020B0604020202020204"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1" lang="ja-JP" altLang="en-US"/>
          </a:p>
        </p:txBody>
      </p:sp>
      <p:sp>
        <p:nvSpPr>
          <p:cNvPr id="20" name="サブタイトル 2">
            <a:extLst>
              <a:ext uri="{FF2B5EF4-FFF2-40B4-BE49-F238E27FC236}">
                <a16:creationId xmlns:a16="http://schemas.microsoft.com/office/drawing/2014/main" id="{F6DB7EA3-E93F-4CE7-A9A3-BF279FD8F97B}"/>
              </a:ext>
            </a:extLst>
          </p:cNvPr>
          <p:cNvSpPr>
            <a:spLocks noGrp="1"/>
          </p:cNvSpPr>
          <p:nvPr userDrawn="1">
            <p:ph type="subTitle" idx="1"/>
          </p:nvPr>
        </p:nvSpPr>
        <p:spPr>
          <a:xfrm>
            <a:off x="323854" y="3822153"/>
            <a:ext cx="8496296" cy="1752600"/>
          </a:xfrm>
        </p:spPr>
        <p:txBody>
          <a:bodyPr>
            <a:normAutofit/>
          </a:bodyPr>
          <a:lstStyle>
            <a:lvl1pPr marL="0" indent="0" algn="ctr">
              <a:buNone/>
              <a:defRPr lang="en-US" altLang="ja-JP" sz="2800" b="0" i="0" u="none" strike="noStrike" baseline="0" smtClean="0">
                <a:solidFill>
                  <a:schemeClr val="bg1"/>
                </a:solidFill>
                <a:latin typeface="Yu Gothic UI" panose="020B0500000000000000" pitchFamily="50" charset="-128"/>
                <a:ea typeface="Yu Gothic UI" panose="020B0500000000000000" pitchFamily="50" charset="-128"/>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kumimoji="1" lang="ja-JP" altLang="en-US"/>
          </a:p>
        </p:txBody>
      </p:sp>
      <p:pic>
        <p:nvPicPr>
          <p:cNvPr id="9" name="グラフィックス 11">
            <a:extLst>
              <a:ext uri="{FF2B5EF4-FFF2-40B4-BE49-F238E27FC236}">
                <a16:creationId xmlns:a16="http://schemas.microsoft.com/office/drawing/2014/main" id="{E4684A0B-142D-41A3-B915-FAE69F4E01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97488" y="6275531"/>
            <a:ext cx="2667000" cy="581025"/>
          </a:xfrm>
          <a:prstGeom prst="rect">
            <a:avLst/>
          </a:prstGeom>
        </p:spPr>
      </p:pic>
      <p:pic>
        <p:nvPicPr>
          <p:cNvPr id="8" name="グラフィックス 30">
            <a:extLst>
              <a:ext uri="{FF2B5EF4-FFF2-40B4-BE49-F238E27FC236}">
                <a16:creationId xmlns:a16="http://schemas.microsoft.com/office/drawing/2014/main" id="{1B6F3D72-6B91-4DEF-B581-61640B7166F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184454" y="83020"/>
            <a:ext cx="1924050" cy="762000"/>
          </a:xfrm>
          <a:prstGeom prst="rect">
            <a:avLst/>
          </a:prstGeom>
        </p:spPr>
      </p:pic>
      <p:sp>
        <p:nvSpPr>
          <p:cNvPr id="11" name="テキスト ボックス 10"/>
          <p:cNvSpPr txBox="1"/>
          <p:nvPr userDrawn="1"/>
        </p:nvSpPr>
        <p:spPr>
          <a:xfrm>
            <a:off x="251520" y="6532474"/>
            <a:ext cx="1063359" cy="216000"/>
          </a:xfrm>
          <a:prstGeom prst="rect">
            <a:avLst/>
          </a:prstGeom>
          <a:ln w="9525">
            <a:solidFill>
              <a:srgbClr val="FF0000"/>
            </a:solidFill>
          </a:ln>
        </p:spPr>
        <p:txBody>
          <a:bodyPr vert="horz" wrap="none" lIns="36000" tIns="36000" rIns="36000" bIns="36000" rtlCol="0" anchor="ctr" anchorCtr="0">
            <a:noAutofit/>
          </a:bodyPr>
          <a:lstStyle/>
          <a:p>
            <a:pPr marL="0" indent="0" algn="ctr">
              <a:buFont typeface="Arial" panose="020B0604020202020204" pitchFamily="34" charset="0"/>
              <a:buNone/>
            </a:pPr>
            <a:r>
              <a:rPr kumimoji="1" lang="en-US" altLang="ja-JP" sz="1300" b="1">
                <a:solidFill>
                  <a:srgbClr val="FF0000"/>
                </a:solidFill>
                <a:latin typeface="Yu Gothic UI" panose="020B0500000000000000" pitchFamily="50" charset="-128"/>
                <a:ea typeface="Yu Gothic UI" panose="020B0500000000000000" pitchFamily="50" charset="-128"/>
              </a:rPr>
              <a:t>Confidential</a:t>
            </a:r>
            <a:endParaRPr kumimoji="1" lang="ja-JP" altLang="en-US" sz="1300" b="1">
              <a:solidFill>
                <a:srgbClr val="FF0000"/>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96956788"/>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表紙_White">
    <p:spTree>
      <p:nvGrpSpPr>
        <p:cNvPr id="1" name=""/>
        <p:cNvGrpSpPr/>
        <p:nvPr/>
      </p:nvGrpSpPr>
      <p:grpSpPr>
        <a:xfrm>
          <a:off x="0" y="0"/>
          <a:ext cx="0" cy="0"/>
          <a:chOff x="0" y="0"/>
          <a:chExt cx="0" cy="0"/>
        </a:xfrm>
      </p:grpSpPr>
      <p:sp>
        <p:nvSpPr>
          <p:cNvPr id="25" name="正方形/長方形 24">
            <a:extLst>
              <a:ext uri="{FF2B5EF4-FFF2-40B4-BE49-F238E27FC236}">
                <a16:creationId xmlns:a16="http://schemas.microsoft.com/office/drawing/2014/main" id="{9BB11AA8-A255-4E44-8E3C-7AD2FD439AC6}"/>
              </a:ext>
            </a:extLst>
          </p:cNvPr>
          <p:cNvSpPr/>
          <p:nvPr userDrawn="1"/>
        </p:nvSpPr>
        <p:spPr>
          <a:xfrm>
            <a:off x="0" y="0"/>
            <a:ext cx="9144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タイトル 1">
            <a:extLst>
              <a:ext uri="{FF2B5EF4-FFF2-40B4-BE49-F238E27FC236}">
                <a16:creationId xmlns:a16="http://schemas.microsoft.com/office/drawing/2014/main" id="{9ACE7970-C4BD-4001-80BE-42987BEB83FF}"/>
              </a:ext>
            </a:extLst>
          </p:cNvPr>
          <p:cNvSpPr>
            <a:spLocks noGrp="1"/>
          </p:cNvSpPr>
          <p:nvPr userDrawn="1">
            <p:ph type="ctrTitle"/>
          </p:nvPr>
        </p:nvSpPr>
        <p:spPr>
          <a:xfrm>
            <a:off x="323850" y="2130428"/>
            <a:ext cx="8496300" cy="1470025"/>
          </a:xfrm>
        </p:spPr>
        <p:txBody>
          <a:bodyPr>
            <a:normAutofit/>
          </a:bodyPr>
          <a:lstStyle>
            <a:lvl1pPr marL="0" marR="0" indent="0" algn="ctr" defTabSz="914400" rtl="0" eaLnBrk="1" fontAlgn="auto" latinLnBrk="0" hangingPunct="1">
              <a:lnSpc>
                <a:spcPct val="100000"/>
              </a:lnSpc>
              <a:spcBef>
                <a:spcPct val="0"/>
              </a:spcBef>
              <a:spcAft>
                <a:spcPts val="0"/>
              </a:spcAft>
              <a:buClrTx/>
              <a:buSzTx/>
              <a:buFontTx/>
              <a:buNone/>
              <a:tabLst/>
              <a:defRPr lang="en-US" altLang="ja-JP" sz="3600" b="0" i="0" u="none" strike="noStrike" baseline="0" smtClean="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1" lang="ja-JP" altLang="en-US"/>
          </a:p>
        </p:txBody>
      </p:sp>
      <p:sp>
        <p:nvSpPr>
          <p:cNvPr id="15" name="サブタイトル 2">
            <a:extLst>
              <a:ext uri="{FF2B5EF4-FFF2-40B4-BE49-F238E27FC236}">
                <a16:creationId xmlns:a16="http://schemas.microsoft.com/office/drawing/2014/main" id="{7EA97614-B29C-4B53-A84B-FFDA596E84D4}"/>
              </a:ext>
            </a:extLst>
          </p:cNvPr>
          <p:cNvSpPr>
            <a:spLocks noGrp="1"/>
          </p:cNvSpPr>
          <p:nvPr userDrawn="1">
            <p:ph type="subTitle" idx="1"/>
          </p:nvPr>
        </p:nvSpPr>
        <p:spPr>
          <a:xfrm>
            <a:off x="323854" y="3822153"/>
            <a:ext cx="8496296" cy="1752600"/>
          </a:xfrm>
        </p:spPr>
        <p:txBody>
          <a:bodyPr>
            <a:normAutofit/>
          </a:bodyPr>
          <a:lstStyle>
            <a:lvl1pPr marL="0" indent="0" algn="ctr">
              <a:buNone/>
              <a:defRPr lang="en-US" altLang="ja-JP" sz="2800" b="0" i="0" u="none" strike="noStrike" baseline="0" smtClean="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kumimoji="1" lang="ja-JP" altLang="en-US"/>
          </a:p>
        </p:txBody>
      </p:sp>
      <p:pic>
        <p:nvPicPr>
          <p:cNvPr id="7" name="グラフィックス 10">
            <a:extLst>
              <a:ext uri="{FF2B5EF4-FFF2-40B4-BE49-F238E27FC236}">
                <a16:creationId xmlns:a16="http://schemas.microsoft.com/office/drawing/2014/main" id="{AF492EF3-F467-43EA-931C-E8CB52210F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97488" y="6276975"/>
            <a:ext cx="2667000" cy="581025"/>
          </a:xfrm>
          <a:prstGeom prst="rect">
            <a:avLst/>
          </a:prstGeom>
        </p:spPr>
      </p:pic>
      <p:pic>
        <p:nvPicPr>
          <p:cNvPr id="8" name="グラフィックス 30">
            <a:extLst>
              <a:ext uri="{FF2B5EF4-FFF2-40B4-BE49-F238E27FC236}">
                <a16:creationId xmlns:a16="http://schemas.microsoft.com/office/drawing/2014/main" id="{1B6F3D72-6B91-4DEF-B581-61640B7166F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184454" y="83020"/>
            <a:ext cx="1924050" cy="762000"/>
          </a:xfrm>
          <a:prstGeom prst="rect">
            <a:avLst/>
          </a:prstGeom>
        </p:spPr>
      </p:pic>
      <p:sp>
        <p:nvSpPr>
          <p:cNvPr id="10" name="テキスト ボックス 9"/>
          <p:cNvSpPr txBox="1"/>
          <p:nvPr userDrawn="1"/>
        </p:nvSpPr>
        <p:spPr>
          <a:xfrm>
            <a:off x="251520" y="6532474"/>
            <a:ext cx="1063359" cy="216000"/>
          </a:xfrm>
          <a:prstGeom prst="rect">
            <a:avLst/>
          </a:prstGeom>
          <a:ln w="9525">
            <a:solidFill>
              <a:srgbClr val="FF0000"/>
            </a:solidFill>
          </a:ln>
        </p:spPr>
        <p:txBody>
          <a:bodyPr vert="horz" wrap="none" lIns="36000" tIns="36000" rIns="36000" bIns="36000" rtlCol="0" anchor="ctr" anchorCtr="0">
            <a:noAutofit/>
          </a:bodyPr>
          <a:lstStyle/>
          <a:p>
            <a:pPr marL="0" indent="0" algn="ctr">
              <a:buFont typeface="Arial" panose="020B0604020202020204" pitchFamily="34" charset="0"/>
              <a:buNone/>
            </a:pPr>
            <a:r>
              <a:rPr kumimoji="1" lang="en-US" altLang="ja-JP" sz="1300" b="1">
                <a:solidFill>
                  <a:srgbClr val="FF0000"/>
                </a:solidFill>
                <a:latin typeface="Yu Gothic UI" panose="020B0500000000000000" pitchFamily="50" charset="-128"/>
                <a:ea typeface="Yu Gothic UI" panose="020B0500000000000000" pitchFamily="50" charset="-128"/>
              </a:rPr>
              <a:t>Confidential</a:t>
            </a:r>
            <a:endParaRPr kumimoji="1" lang="ja-JP" altLang="en-US" sz="1300" b="1">
              <a:solidFill>
                <a:srgbClr val="FF0000"/>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46916259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コンテンツ_blue1">
    <p:spTree>
      <p:nvGrpSpPr>
        <p:cNvPr id="1" name=""/>
        <p:cNvGrpSpPr/>
        <p:nvPr/>
      </p:nvGrpSpPr>
      <p:grpSpPr>
        <a:xfrm>
          <a:off x="0" y="0"/>
          <a:ext cx="0" cy="0"/>
          <a:chOff x="0" y="0"/>
          <a:chExt cx="0" cy="0"/>
        </a:xfrm>
      </p:grpSpPr>
      <p:sp>
        <p:nvSpPr>
          <p:cNvPr id="20" name="正方形/長方形 19">
            <a:extLst>
              <a:ext uri="{FF2B5EF4-FFF2-40B4-BE49-F238E27FC236}">
                <a16:creationId xmlns:a16="http://schemas.microsoft.com/office/drawing/2014/main" id="{29E7EA3B-A9DB-4486-87A9-0849E422A218}"/>
              </a:ext>
            </a:extLst>
          </p:cNvPr>
          <p:cNvSpPr/>
          <p:nvPr userDrawn="1"/>
        </p:nvSpPr>
        <p:spPr>
          <a:xfrm>
            <a:off x="0" y="908720"/>
            <a:ext cx="9144000" cy="5949280"/>
          </a:xfrm>
          <a:prstGeom prst="rect">
            <a:avLst/>
          </a:prstGeom>
          <a:solidFill>
            <a:srgbClr val="2B7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正方形/長方形 16">
            <a:extLst>
              <a:ext uri="{FF2B5EF4-FFF2-40B4-BE49-F238E27FC236}">
                <a16:creationId xmlns:a16="http://schemas.microsoft.com/office/drawing/2014/main" id="{C306329A-629B-459C-8C89-6489DD26B598}"/>
              </a:ext>
            </a:extLst>
          </p:cNvPr>
          <p:cNvSpPr/>
          <p:nvPr userDrawn="1"/>
        </p:nvSpPr>
        <p:spPr>
          <a:xfrm>
            <a:off x="0" y="0"/>
            <a:ext cx="9144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スライド番号プレースホルダー 5">
            <a:extLst>
              <a:ext uri="{FF2B5EF4-FFF2-40B4-BE49-F238E27FC236}">
                <a16:creationId xmlns:a16="http://schemas.microsoft.com/office/drawing/2014/main" id="{76B2A9C4-3C67-4FA7-B82C-31630FF0F06F}"/>
              </a:ext>
            </a:extLst>
          </p:cNvPr>
          <p:cNvSpPr>
            <a:spLocks noGrp="1"/>
          </p:cNvSpPr>
          <p:nvPr userDrawn="1">
            <p:ph type="sldNum" sz="quarter" idx="12"/>
          </p:nvPr>
        </p:nvSpPr>
        <p:spPr>
          <a:xfrm>
            <a:off x="3505200" y="6356352"/>
            <a:ext cx="2133600" cy="365125"/>
          </a:xfrm>
        </p:spPr>
        <p:txBody>
          <a:bodyPr anchor="b"/>
          <a:lstStyle>
            <a:lvl1pPr algn="ctr">
              <a:defRPr lang="en-US" altLang="ja-JP" baseline="0" smtClean="0">
                <a:solidFill>
                  <a:schemeClr val="bg1"/>
                </a:solidFill>
                <a:latin typeface="Yu Gothic UI" panose="020B0500000000000000" pitchFamily="50" charset="-128"/>
                <a:ea typeface="Yu Gothic UI" panose="020B0500000000000000" pitchFamily="50" charset="-128"/>
              </a:defRPr>
            </a:lvl1pPr>
          </a:lstStyle>
          <a:p>
            <a:fld id="{98139188-682B-46B8-8E3A-C32D863D2EEC}" type="slidenum">
              <a:rPr lang="en-US" altLang="ja-JP" smtClean="0"/>
              <a:pPr/>
              <a:t>‹#›</a:t>
            </a:fld>
            <a:endParaRPr lang="ja-JP" altLang="en-US"/>
          </a:p>
        </p:txBody>
      </p:sp>
      <p:sp>
        <p:nvSpPr>
          <p:cNvPr id="15" name="テキスト プレースホルダー 38">
            <a:extLst>
              <a:ext uri="{FF2B5EF4-FFF2-40B4-BE49-F238E27FC236}">
                <a16:creationId xmlns:a16="http://schemas.microsoft.com/office/drawing/2014/main" id="{08BCEC50-762F-4BDC-BC8F-252F4AB15D77}"/>
              </a:ext>
            </a:extLst>
          </p:cNvPr>
          <p:cNvSpPr>
            <a:spLocks noGrp="1"/>
          </p:cNvSpPr>
          <p:nvPr userDrawn="1">
            <p:ph type="body" sz="quarter" idx="13"/>
          </p:nvPr>
        </p:nvSpPr>
        <p:spPr>
          <a:xfrm>
            <a:off x="251524" y="1052962"/>
            <a:ext cx="8640950" cy="5400000"/>
          </a:xfrm>
        </p:spPr>
        <p:txBody>
          <a:bodyPr>
            <a:normAutofit/>
          </a:bodyPr>
          <a:lstStyle>
            <a:lvl1pPr>
              <a:defRPr sz="2400" baseline="0">
                <a:solidFill>
                  <a:schemeClr val="bg1"/>
                </a:solidFill>
                <a:latin typeface="Yu Gothic UI" panose="020B0500000000000000" pitchFamily="50" charset="-128"/>
                <a:ea typeface="Yu Gothic UI" panose="020B0500000000000000" pitchFamily="50" charset="-128"/>
                <a:cs typeface="Arial" panose="020B0604020202020204" pitchFamily="34" charset="0"/>
              </a:defRPr>
            </a:lvl1pPr>
            <a:lvl2pPr>
              <a:defRPr sz="2000" baseline="0">
                <a:solidFill>
                  <a:schemeClr val="bg1"/>
                </a:solidFill>
                <a:latin typeface="Yu Gothic UI" panose="020B0500000000000000" pitchFamily="50" charset="-128"/>
                <a:ea typeface="Yu Gothic UI" panose="020B0500000000000000" pitchFamily="50" charset="-128"/>
              </a:defRPr>
            </a:lvl2pPr>
            <a:lvl3pPr>
              <a:defRPr sz="1800" baseline="0">
                <a:solidFill>
                  <a:schemeClr val="bg1"/>
                </a:solidFill>
                <a:latin typeface="Yu Gothic UI" panose="020B0500000000000000" pitchFamily="50" charset="-128"/>
                <a:ea typeface="Yu Gothic UI" panose="020B0500000000000000" pitchFamily="50" charset="-128"/>
              </a:defRPr>
            </a:lvl3pPr>
            <a:lvl4pPr>
              <a:defRPr sz="1600" baseline="0">
                <a:solidFill>
                  <a:schemeClr val="bg1"/>
                </a:solidFill>
                <a:latin typeface="Yu Gothic UI" panose="020B0500000000000000" pitchFamily="50" charset="-128"/>
                <a:ea typeface="Yu Gothic UI" panose="020B0500000000000000" pitchFamily="50" charset="-128"/>
              </a:defRPr>
            </a:lvl4pPr>
            <a:lvl5pPr marL="1828800" indent="0">
              <a:buNone/>
              <a:defRPr sz="1600" baseline="0">
                <a:solidFill>
                  <a:schemeClr val="bg1"/>
                </a:solidFill>
                <a:latin typeface="Yu Gothic UI" panose="020B0500000000000000" pitchFamily="50" charset="-128"/>
                <a:ea typeface="Yu Gothic UI" panose="020B0500000000000000"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6" name="タイトル 1">
            <a:extLst>
              <a:ext uri="{FF2B5EF4-FFF2-40B4-BE49-F238E27FC236}">
                <a16:creationId xmlns:a16="http://schemas.microsoft.com/office/drawing/2014/main" id="{EB5548F2-3138-4649-BAAC-2243D0544F18}"/>
              </a:ext>
            </a:extLst>
          </p:cNvPr>
          <p:cNvSpPr>
            <a:spLocks noGrp="1"/>
          </p:cNvSpPr>
          <p:nvPr userDrawn="1">
            <p:ph type="title"/>
          </p:nvPr>
        </p:nvSpPr>
        <p:spPr>
          <a:xfrm>
            <a:off x="251519" y="263966"/>
            <a:ext cx="6932935" cy="523220"/>
          </a:xfrm>
        </p:spPr>
        <p:txBody>
          <a:bodyPr wrap="square" anchor="b">
            <a:spAutoFit/>
          </a:bodyPr>
          <a:lstStyle>
            <a:lvl1pPr algn="l">
              <a:defRPr sz="2800" b="0" baseline="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stStyle>
          <a:p>
            <a:endParaRPr kumimoji="1" lang="ja-JP" altLang="en-US"/>
          </a:p>
        </p:txBody>
      </p:sp>
      <p:pic>
        <p:nvPicPr>
          <p:cNvPr id="8" name="グラフィックス 30">
            <a:extLst>
              <a:ext uri="{FF2B5EF4-FFF2-40B4-BE49-F238E27FC236}">
                <a16:creationId xmlns:a16="http://schemas.microsoft.com/office/drawing/2014/main" id="{1B6F3D72-6B91-4DEF-B581-61640B7166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84454" y="83020"/>
            <a:ext cx="1924050" cy="762000"/>
          </a:xfrm>
          <a:prstGeom prst="rect">
            <a:avLst/>
          </a:prstGeom>
        </p:spPr>
      </p:pic>
      <p:sp>
        <p:nvSpPr>
          <p:cNvPr id="9" name="テキスト ボックス 8"/>
          <p:cNvSpPr txBox="1"/>
          <p:nvPr userDrawn="1"/>
        </p:nvSpPr>
        <p:spPr>
          <a:xfrm>
            <a:off x="251520" y="6532474"/>
            <a:ext cx="1063359" cy="216000"/>
          </a:xfrm>
          <a:prstGeom prst="rect">
            <a:avLst/>
          </a:prstGeom>
          <a:ln w="9525">
            <a:solidFill>
              <a:srgbClr val="FF0000"/>
            </a:solidFill>
          </a:ln>
        </p:spPr>
        <p:txBody>
          <a:bodyPr vert="horz" wrap="none" lIns="36000" tIns="36000" rIns="36000" bIns="36000" rtlCol="0" anchor="ctr" anchorCtr="0">
            <a:noAutofit/>
          </a:bodyPr>
          <a:lstStyle/>
          <a:p>
            <a:pPr marL="0" indent="0" algn="ctr">
              <a:buFont typeface="Arial" panose="020B0604020202020204" pitchFamily="34" charset="0"/>
              <a:buNone/>
            </a:pPr>
            <a:r>
              <a:rPr kumimoji="1" lang="en-US" altLang="ja-JP" sz="1300" b="1">
                <a:solidFill>
                  <a:srgbClr val="FF0000"/>
                </a:solidFill>
                <a:latin typeface="Yu Gothic UI" panose="020B0500000000000000" pitchFamily="50" charset="-128"/>
                <a:ea typeface="Yu Gothic UI" panose="020B0500000000000000" pitchFamily="50" charset="-128"/>
              </a:rPr>
              <a:t>Confidential</a:t>
            </a:r>
            <a:endParaRPr kumimoji="1" lang="ja-JP" altLang="en-US" sz="1300" b="1">
              <a:solidFill>
                <a:srgbClr val="FF0000"/>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6981738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コンテンツ_blue2">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29E7EA3B-A9DB-4486-87A9-0849E422A218}"/>
              </a:ext>
            </a:extLst>
          </p:cNvPr>
          <p:cNvSpPr/>
          <p:nvPr userDrawn="1"/>
        </p:nvSpPr>
        <p:spPr>
          <a:xfrm>
            <a:off x="0" y="908720"/>
            <a:ext cx="9144000" cy="5949280"/>
          </a:xfrm>
          <a:prstGeom prst="rect">
            <a:avLst/>
          </a:prstGeom>
          <a:solidFill>
            <a:srgbClr val="2B7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コンテンツ プレースホルダー 2"/>
          <p:cNvSpPr>
            <a:spLocks noGrp="1"/>
          </p:cNvSpPr>
          <p:nvPr>
            <p:ph idx="1"/>
          </p:nvPr>
        </p:nvSpPr>
        <p:spPr>
          <a:xfrm>
            <a:off x="251520" y="1052736"/>
            <a:ext cx="8640960" cy="5400600"/>
          </a:xfrm>
        </p:spPr>
        <p:txBody>
          <a:bodyPr>
            <a:normAutofit/>
          </a:bodyPr>
          <a:lstStyle>
            <a:lvl1pPr marL="0" indent="0">
              <a:buNone/>
              <a:defRPr sz="2400">
                <a:solidFill>
                  <a:schemeClr val="bg1"/>
                </a:solidFill>
              </a:defRPr>
            </a:lvl1pPr>
            <a:lvl2pPr marL="457200" indent="0">
              <a:buNone/>
              <a:defRPr sz="2000">
                <a:solidFill>
                  <a:schemeClr val="bg1"/>
                </a:solidFill>
              </a:defRPr>
            </a:lvl2pPr>
            <a:lvl3pPr marL="914400" indent="0">
              <a:buNone/>
              <a:defRPr sz="18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タイトル 1">
            <a:extLst>
              <a:ext uri="{FF2B5EF4-FFF2-40B4-BE49-F238E27FC236}">
                <a16:creationId xmlns:a16="http://schemas.microsoft.com/office/drawing/2014/main" id="{EB5548F2-3138-4649-BAAC-2243D0544F18}"/>
              </a:ext>
            </a:extLst>
          </p:cNvPr>
          <p:cNvSpPr>
            <a:spLocks noGrp="1"/>
          </p:cNvSpPr>
          <p:nvPr>
            <p:ph type="title"/>
          </p:nvPr>
        </p:nvSpPr>
        <p:spPr>
          <a:xfrm>
            <a:off x="251519" y="263966"/>
            <a:ext cx="6932935" cy="523220"/>
          </a:xfrm>
        </p:spPr>
        <p:txBody>
          <a:bodyPr wrap="square" anchor="b">
            <a:spAutoFit/>
          </a:bodyPr>
          <a:lstStyle>
            <a:lvl1pPr algn="l">
              <a:defRPr sz="2800" b="0" baseline="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stStyle>
          <a:p>
            <a:endParaRPr kumimoji="1" lang="ja-JP" altLang="en-US"/>
          </a:p>
        </p:txBody>
      </p:sp>
      <p:pic>
        <p:nvPicPr>
          <p:cNvPr id="8" name="グラフィックス 30">
            <a:extLst>
              <a:ext uri="{FF2B5EF4-FFF2-40B4-BE49-F238E27FC236}">
                <a16:creationId xmlns:a16="http://schemas.microsoft.com/office/drawing/2014/main" id="{1B6F3D72-6B91-4DEF-B581-61640B7166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84454" y="83020"/>
            <a:ext cx="1924050" cy="762000"/>
          </a:xfrm>
          <a:prstGeom prst="rect">
            <a:avLst/>
          </a:prstGeom>
        </p:spPr>
      </p:pic>
      <p:sp>
        <p:nvSpPr>
          <p:cNvPr id="12" name="スライド番号プレースホルダー 5">
            <a:extLst>
              <a:ext uri="{FF2B5EF4-FFF2-40B4-BE49-F238E27FC236}">
                <a16:creationId xmlns:a16="http://schemas.microsoft.com/office/drawing/2014/main" id="{76B2A9C4-3C67-4FA7-B82C-31630FF0F06F}"/>
              </a:ext>
            </a:extLst>
          </p:cNvPr>
          <p:cNvSpPr>
            <a:spLocks noGrp="1"/>
          </p:cNvSpPr>
          <p:nvPr>
            <p:ph type="sldNum" sz="quarter" idx="12"/>
          </p:nvPr>
        </p:nvSpPr>
        <p:spPr>
          <a:xfrm>
            <a:off x="3505200" y="6356352"/>
            <a:ext cx="2133600" cy="365125"/>
          </a:xfrm>
        </p:spPr>
        <p:txBody>
          <a:bodyPr anchor="b"/>
          <a:lstStyle>
            <a:lvl1pPr algn="ctr">
              <a:defRPr lang="en-US" altLang="ja-JP" baseline="0" smtClean="0">
                <a:solidFill>
                  <a:schemeClr val="bg1"/>
                </a:solidFill>
                <a:latin typeface="Yu Gothic UI" panose="020B0500000000000000" pitchFamily="50" charset="-128"/>
                <a:ea typeface="Yu Gothic UI" panose="020B0500000000000000" pitchFamily="50" charset="-128"/>
              </a:defRPr>
            </a:lvl1pPr>
          </a:lstStyle>
          <a:p>
            <a:fld id="{98139188-682B-46B8-8E3A-C32D863D2EEC}" type="slidenum">
              <a:rPr lang="en-US" altLang="ja-JP" smtClean="0"/>
              <a:pPr/>
              <a:t>‹#›</a:t>
            </a:fld>
            <a:endParaRPr lang="ja-JP" altLang="en-US"/>
          </a:p>
        </p:txBody>
      </p:sp>
      <p:sp>
        <p:nvSpPr>
          <p:cNvPr id="10" name="テキスト ボックス 9"/>
          <p:cNvSpPr txBox="1"/>
          <p:nvPr userDrawn="1"/>
        </p:nvSpPr>
        <p:spPr>
          <a:xfrm>
            <a:off x="251520" y="6532474"/>
            <a:ext cx="1063359" cy="216000"/>
          </a:xfrm>
          <a:prstGeom prst="rect">
            <a:avLst/>
          </a:prstGeom>
          <a:ln w="9525">
            <a:solidFill>
              <a:srgbClr val="FF0000"/>
            </a:solidFill>
          </a:ln>
        </p:spPr>
        <p:txBody>
          <a:bodyPr vert="horz" wrap="none" lIns="36000" tIns="36000" rIns="36000" bIns="36000" rtlCol="0" anchor="ctr" anchorCtr="0">
            <a:noAutofit/>
          </a:bodyPr>
          <a:lstStyle/>
          <a:p>
            <a:pPr marL="0" indent="0" algn="ctr">
              <a:buFont typeface="Arial" panose="020B0604020202020204" pitchFamily="34" charset="0"/>
              <a:buNone/>
            </a:pPr>
            <a:r>
              <a:rPr kumimoji="1" lang="en-US" altLang="ja-JP" sz="1300" b="1">
                <a:solidFill>
                  <a:srgbClr val="FF0000"/>
                </a:solidFill>
                <a:latin typeface="Yu Gothic UI" panose="020B0500000000000000" pitchFamily="50" charset="-128"/>
                <a:ea typeface="Yu Gothic UI" panose="020B0500000000000000" pitchFamily="50" charset="-128"/>
              </a:rPr>
              <a:t>Confidential</a:t>
            </a:r>
            <a:endParaRPr kumimoji="1" lang="ja-JP" altLang="en-US" sz="1300" b="1">
              <a:solidFill>
                <a:srgbClr val="FF0000"/>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122490921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コンテンツ_blue_差替用">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29E7EA3B-A9DB-4486-87A9-0849E422A218}"/>
              </a:ext>
            </a:extLst>
          </p:cNvPr>
          <p:cNvSpPr/>
          <p:nvPr userDrawn="1"/>
        </p:nvSpPr>
        <p:spPr>
          <a:xfrm>
            <a:off x="0" y="908720"/>
            <a:ext cx="9144000" cy="5949280"/>
          </a:xfrm>
          <a:prstGeom prst="rect">
            <a:avLst/>
          </a:prstGeom>
          <a:solidFill>
            <a:srgbClr val="2B7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8" name="グラフィックス 30">
            <a:extLst>
              <a:ext uri="{FF2B5EF4-FFF2-40B4-BE49-F238E27FC236}">
                <a16:creationId xmlns:a16="http://schemas.microsoft.com/office/drawing/2014/main" id="{1B6F3D72-6B91-4DEF-B581-61640B7166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84454" y="83020"/>
            <a:ext cx="1924050" cy="762000"/>
          </a:xfrm>
          <a:prstGeom prst="rect">
            <a:avLst/>
          </a:prstGeom>
        </p:spPr>
      </p:pic>
      <p:sp>
        <p:nvSpPr>
          <p:cNvPr id="12" name="スライド番号プレースホルダー 5">
            <a:extLst>
              <a:ext uri="{FF2B5EF4-FFF2-40B4-BE49-F238E27FC236}">
                <a16:creationId xmlns:a16="http://schemas.microsoft.com/office/drawing/2014/main" id="{76B2A9C4-3C67-4FA7-B82C-31630FF0F06F}"/>
              </a:ext>
            </a:extLst>
          </p:cNvPr>
          <p:cNvSpPr>
            <a:spLocks noGrp="1"/>
          </p:cNvSpPr>
          <p:nvPr>
            <p:ph type="sldNum" sz="quarter" idx="12"/>
          </p:nvPr>
        </p:nvSpPr>
        <p:spPr>
          <a:xfrm>
            <a:off x="3505200" y="6356352"/>
            <a:ext cx="2133600" cy="365125"/>
          </a:xfrm>
        </p:spPr>
        <p:txBody>
          <a:bodyPr anchor="b"/>
          <a:lstStyle>
            <a:lvl1pPr algn="ctr">
              <a:defRPr lang="en-US" altLang="ja-JP" baseline="0" smtClean="0">
                <a:solidFill>
                  <a:schemeClr val="bg1"/>
                </a:solidFill>
                <a:latin typeface="Yu Gothic UI" panose="020B0500000000000000" pitchFamily="50" charset="-128"/>
                <a:ea typeface="Yu Gothic UI" panose="020B0500000000000000" pitchFamily="50" charset="-128"/>
              </a:defRPr>
            </a:lvl1pPr>
          </a:lstStyle>
          <a:p>
            <a:fld id="{98139188-682B-46B8-8E3A-C32D863D2EEC}" type="slidenum">
              <a:rPr lang="en-US" altLang="ja-JP" smtClean="0"/>
              <a:pPr/>
              <a:t>‹#›</a:t>
            </a:fld>
            <a:endParaRPr lang="ja-JP" altLang="en-US"/>
          </a:p>
        </p:txBody>
      </p:sp>
      <p:sp>
        <p:nvSpPr>
          <p:cNvPr id="6" name="テキスト ボックス 5"/>
          <p:cNvSpPr txBox="1"/>
          <p:nvPr userDrawn="1"/>
        </p:nvSpPr>
        <p:spPr>
          <a:xfrm>
            <a:off x="251520" y="6532474"/>
            <a:ext cx="1063359" cy="216000"/>
          </a:xfrm>
          <a:prstGeom prst="rect">
            <a:avLst/>
          </a:prstGeom>
          <a:ln w="9525">
            <a:solidFill>
              <a:srgbClr val="FF0000"/>
            </a:solidFill>
          </a:ln>
        </p:spPr>
        <p:txBody>
          <a:bodyPr vert="horz" wrap="none" lIns="36000" tIns="36000" rIns="36000" bIns="36000" rtlCol="0" anchor="ctr" anchorCtr="0">
            <a:noAutofit/>
          </a:bodyPr>
          <a:lstStyle/>
          <a:p>
            <a:pPr marL="0" indent="0" algn="ctr">
              <a:buFont typeface="Arial" panose="020B0604020202020204" pitchFamily="34" charset="0"/>
              <a:buNone/>
            </a:pPr>
            <a:r>
              <a:rPr kumimoji="1" lang="en-US" altLang="ja-JP" sz="1300" b="1">
                <a:solidFill>
                  <a:srgbClr val="FF0000"/>
                </a:solidFill>
                <a:latin typeface="Yu Gothic UI" panose="020B0500000000000000" pitchFamily="50" charset="-128"/>
                <a:ea typeface="Yu Gothic UI" panose="020B0500000000000000" pitchFamily="50" charset="-128"/>
              </a:rPr>
              <a:t>Confidential</a:t>
            </a:r>
            <a:endParaRPr kumimoji="1" lang="ja-JP" altLang="en-US" sz="1300" b="1">
              <a:solidFill>
                <a:srgbClr val="FF0000"/>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66592001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コンテンツ_white1">
    <p:spTree>
      <p:nvGrpSpPr>
        <p:cNvPr id="1" name=""/>
        <p:cNvGrpSpPr/>
        <p:nvPr/>
      </p:nvGrpSpPr>
      <p:grpSpPr>
        <a:xfrm>
          <a:off x="0" y="0"/>
          <a:ext cx="0" cy="0"/>
          <a:chOff x="0" y="0"/>
          <a:chExt cx="0" cy="0"/>
        </a:xfrm>
      </p:grpSpPr>
      <p:sp>
        <p:nvSpPr>
          <p:cNvPr id="6" name="スライド番号プレースホルダー 5"/>
          <p:cNvSpPr>
            <a:spLocks noGrp="1"/>
          </p:cNvSpPr>
          <p:nvPr userDrawn="1">
            <p:ph type="sldNum" sz="quarter" idx="12"/>
          </p:nvPr>
        </p:nvSpPr>
        <p:spPr>
          <a:xfrm>
            <a:off x="3505200" y="6356352"/>
            <a:ext cx="2133600" cy="365125"/>
          </a:xfrm>
        </p:spPr>
        <p:txBody>
          <a:bodyPr anchor="b"/>
          <a:lstStyle>
            <a:lvl1pPr algn="ctr">
              <a:defRPr>
                <a:solidFill>
                  <a:schemeClr val="tx1"/>
                </a:solidFill>
                <a:latin typeface="Yu Gothic UI" panose="020B0500000000000000" pitchFamily="50" charset="-128"/>
                <a:ea typeface="Yu Gothic UI" panose="020B0500000000000000" pitchFamily="50" charset="-128"/>
              </a:defRPr>
            </a:lvl1pPr>
          </a:lstStyle>
          <a:p>
            <a:fld id="{98139188-682B-46B8-8E3A-C32D863D2EEC}" type="slidenum">
              <a:rPr lang="ja-JP" altLang="en-US" smtClean="0"/>
              <a:pPr/>
              <a:t>‹#›</a:t>
            </a:fld>
            <a:endParaRPr lang="ja-JP" altLang="en-US"/>
          </a:p>
        </p:txBody>
      </p:sp>
      <p:sp>
        <p:nvSpPr>
          <p:cNvPr id="14" name="正方形/長方形 13">
            <a:extLst>
              <a:ext uri="{FF2B5EF4-FFF2-40B4-BE49-F238E27FC236}">
                <a16:creationId xmlns:a16="http://schemas.microsoft.com/office/drawing/2014/main" id="{2359D46F-A8DD-4578-8D2D-6498763399AB}"/>
              </a:ext>
            </a:extLst>
          </p:cNvPr>
          <p:cNvSpPr/>
          <p:nvPr userDrawn="1"/>
        </p:nvSpPr>
        <p:spPr>
          <a:xfrm>
            <a:off x="0" y="0"/>
            <a:ext cx="9144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a:p>
        </p:txBody>
      </p:sp>
      <p:sp>
        <p:nvSpPr>
          <p:cNvPr id="17" name="テキスト プレースホルダー 38">
            <a:extLst>
              <a:ext uri="{FF2B5EF4-FFF2-40B4-BE49-F238E27FC236}">
                <a16:creationId xmlns:a16="http://schemas.microsoft.com/office/drawing/2014/main" id="{2959DA9D-0A46-45B7-89DC-BA04F4F511C4}"/>
              </a:ext>
            </a:extLst>
          </p:cNvPr>
          <p:cNvSpPr>
            <a:spLocks noGrp="1"/>
          </p:cNvSpPr>
          <p:nvPr userDrawn="1">
            <p:ph type="body" sz="quarter" idx="13"/>
          </p:nvPr>
        </p:nvSpPr>
        <p:spPr>
          <a:xfrm>
            <a:off x="251524" y="1052963"/>
            <a:ext cx="8640950" cy="5366887"/>
          </a:xfrm>
        </p:spPr>
        <p:txBody>
          <a:bodyPr>
            <a:normAutofit/>
          </a:bodyPr>
          <a:lstStyle>
            <a:lvl1pPr>
              <a:defRPr sz="24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a:defRPr sz="2000">
                <a:solidFill>
                  <a:schemeClr val="tx1"/>
                </a:solidFill>
                <a:latin typeface="Yu Gothic UI" panose="020B0500000000000000" pitchFamily="50" charset="-128"/>
                <a:ea typeface="Yu Gothic UI" panose="020B0500000000000000" pitchFamily="50" charset="-128"/>
              </a:defRPr>
            </a:lvl2pPr>
            <a:lvl3pPr>
              <a:defRPr sz="1800" baseline="0">
                <a:solidFill>
                  <a:schemeClr val="tx1"/>
                </a:solidFill>
                <a:latin typeface="Yu Gothic UI" panose="020B0500000000000000" pitchFamily="50" charset="-128"/>
                <a:ea typeface="Yu Gothic UI" panose="020B0500000000000000" pitchFamily="50" charset="-128"/>
              </a:defRPr>
            </a:lvl3pPr>
            <a:lvl4pPr>
              <a:defRPr sz="1600" baseline="0">
                <a:solidFill>
                  <a:schemeClr val="tx1"/>
                </a:solidFill>
                <a:latin typeface="Yu Gothic UI" panose="020B0500000000000000" pitchFamily="50" charset="-128"/>
                <a:ea typeface="Yu Gothic UI" panose="020B0500000000000000" pitchFamily="50" charset="-128"/>
              </a:defRPr>
            </a:lvl4pPr>
            <a:lvl5pPr>
              <a:defRPr sz="1600" baseline="0">
                <a:solidFill>
                  <a:schemeClr val="tx1"/>
                </a:solidFill>
                <a:latin typeface="Yu Gothic UI" panose="020B0500000000000000" pitchFamily="50" charset="-128"/>
                <a:ea typeface="Yu Gothic UI" panose="020B0500000000000000"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9" name="タイトル 1">
            <a:extLst>
              <a:ext uri="{FF2B5EF4-FFF2-40B4-BE49-F238E27FC236}">
                <a16:creationId xmlns:a16="http://schemas.microsoft.com/office/drawing/2014/main" id="{EE1B665B-E5EE-486E-B6CA-A184716AA518}"/>
              </a:ext>
            </a:extLst>
          </p:cNvPr>
          <p:cNvSpPr>
            <a:spLocks noGrp="1"/>
          </p:cNvSpPr>
          <p:nvPr userDrawn="1">
            <p:ph type="title"/>
          </p:nvPr>
        </p:nvSpPr>
        <p:spPr>
          <a:xfrm>
            <a:off x="251519" y="263966"/>
            <a:ext cx="6932935" cy="523220"/>
          </a:xfrm>
        </p:spPr>
        <p:txBody>
          <a:bodyPr wrap="square" anchor="b">
            <a:spAutoFit/>
          </a:bodyPr>
          <a:lstStyle>
            <a:lvl1pPr algn="l">
              <a:defRPr sz="2800" b="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stStyle>
          <a:p>
            <a:endParaRPr kumimoji="1" lang="ja-JP" altLang="en-US"/>
          </a:p>
        </p:txBody>
      </p:sp>
      <p:pic>
        <p:nvPicPr>
          <p:cNvPr id="8" name="グラフィックス 30">
            <a:extLst>
              <a:ext uri="{FF2B5EF4-FFF2-40B4-BE49-F238E27FC236}">
                <a16:creationId xmlns:a16="http://schemas.microsoft.com/office/drawing/2014/main" id="{1B6F3D72-6B91-4DEF-B581-61640B7166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84454" y="83020"/>
            <a:ext cx="1924050" cy="762000"/>
          </a:xfrm>
          <a:prstGeom prst="rect">
            <a:avLst/>
          </a:prstGeom>
        </p:spPr>
      </p:pic>
      <p:cxnSp>
        <p:nvCxnSpPr>
          <p:cNvPr id="9" name="直線コネクタ 8">
            <a:extLst>
              <a:ext uri="{FF2B5EF4-FFF2-40B4-BE49-F238E27FC236}">
                <a16:creationId xmlns:a16="http://schemas.microsoft.com/office/drawing/2014/main" id="{F1DDE67B-F529-4FB5-8B37-7E7FAA820B79}"/>
              </a:ext>
            </a:extLst>
          </p:cNvPr>
          <p:cNvCxnSpPr>
            <a:cxnSpLocks/>
          </p:cNvCxnSpPr>
          <p:nvPr userDrawn="1"/>
        </p:nvCxnSpPr>
        <p:spPr>
          <a:xfrm>
            <a:off x="0" y="908720"/>
            <a:ext cx="9144000" cy="0"/>
          </a:xfrm>
          <a:prstGeom prst="line">
            <a:avLst/>
          </a:prstGeom>
          <a:ln>
            <a:solidFill>
              <a:srgbClr val="2B73BA"/>
            </a:solidFill>
          </a:ln>
        </p:spPr>
        <p:style>
          <a:lnRef idx="1">
            <a:schemeClr val="accent1"/>
          </a:lnRef>
          <a:fillRef idx="0">
            <a:schemeClr val="accent1"/>
          </a:fillRef>
          <a:effectRef idx="0">
            <a:schemeClr val="accent1"/>
          </a:effectRef>
          <a:fontRef idx="minor">
            <a:schemeClr val="tx1"/>
          </a:fontRef>
        </p:style>
      </p:cxnSp>
      <p:sp>
        <p:nvSpPr>
          <p:cNvPr id="10" name="テキスト ボックス 9"/>
          <p:cNvSpPr txBox="1"/>
          <p:nvPr userDrawn="1"/>
        </p:nvSpPr>
        <p:spPr>
          <a:xfrm>
            <a:off x="251520" y="6532474"/>
            <a:ext cx="1063359" cy="216000"/>
          </a:xfrm>
          <a:prstGeom prst="rect">
            <a:avLst/>
          </a:prstGeom>
          <a:ln w="9525">
            <a:solidFill>
              <a:srgbClr val="FF0000"/>
            </a:solidFill>
          </a:ln>
        </p:spPr>
        <p:txBody>
          <a:bodyPr vert="horz" wrap="none" lIns="36000" tIns="36000" rIns="36000" bIns="36000" rtlCol="0" anchor="ctr" anchorCtr="0">
            <a:noAutofit/>
          </a:bodyPr>
          <a:lstStyle/>
          <a:p>
            <a:pPr marL="0" indent="0" algn="ctr">
              <a:buFont typeface="Arial" panose="020B0604020202020204" pitchFamily="34" charset="0"/>
              <a:buNone/>
            </a:pPr>
            <a:r>
              <a:rPr kumimoji="1" lang="en-US" altLang="ja-JP" sz="1300" b="1">
                <a:solidFill>
                  <a:srgbClr val="FF0000"/>
                </a:solidFill>
                <a:latin typeface="Yu Gothic UI" panose="020B0500000000000000" pitchFamily="50" charset="-128"/>
                <a:ea typeface="Yu Gothic UI" panose="020B0500000000000000" pitchFamily="50" charset="-128"/>
              </a:rPr>
              <a:t>Confidential</a:t>
            </a:r>
            <a:endParaRPr kumimoji="1" lang="ja-JP" altLang="en-US" sz="1300" b="1">
              <a:solidFill>
                <a:srgbClr val="FF0000"/>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49684328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コンテンツ_white2">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251520" y="1052736"/>
            <a:ext cx="8640960" cy="5400600"/>
          </a:xfrm>
        </p:spPr>
        <p:txBody>
          <a:bodyPr>
            <a:normAutofit/>
          </a:bodyPr>
          <a:lstStyle>
            <a:lvl1pPr marL="0" indent="0">
              <a:buNone/>
              <a:defRPr sz="2400">
                <a:solidFill>
                  <a:schemeClr val="tx1"/>
                </a:solidFill>
              </a:defRPr>
            </a:lvl1pPr>
            <a:lvl2pPr marL="457200" indent="0">
              <a:buNone/>
              <a:defRPr sz="2000">
                <a:solidFill>
                  <a:schemeClr val="tx1"/>
                </a:solidFill>
              </a:defRPr>
            </a:lvl2pPr>
            <a:lvl3pPr marL="914400" indent="0">
              <a:buNone/>
              <a:defRPr sz="18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タイトル 1">
            <a:extLst>
              <a:ext uri="{FF2B5EF4-FFF2-40B4-BE49-F238E27FC236}">
                <a16:creationId xmlns:a16="http://schemas.microsoft.com/office/drawing/2014/main" id="{EB5548F2-3138-4649-BAAC-2243D0544F18}"/>
              </a:ext>
            </a:extLst>
          </p:cNvPr>
          <p:cNvSpPr>
            <a:spLocks noGrp="1"/>
          </p:cNvSpPr>
          <p:nvPr>
            <p:ph type="title"/>
          </p:nvPr>
        </p:nvSpPr>
        <p:spPr>
          <a:xfrm>
            <a:off x="251519" y="263966"/>
            <a:ext cx="6932935" cy="523220"/>
          </a:xfrm>
        </p:spPr>
        <p:txBody>
          <a:bodyPr wrap="square" anchor="b">
            <a:spAutoFit/>
          </a:bodyPr>
          <a:lstStyle>
            <a:lvl1pPr algn="l">
              <a:defRPr sz="2800" b="0" baseline="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stStyle>
          <a:p>
            <a:endParaRPr kumimoji="1" lang="ja-JP" altLang="en-US"/>
          </a:p>
        </p:txBody>
      </p:sp>
      <p:pic>
        <p:nvPicPr>
          <p:cNvPr id="8" name="グラフィックス 30">
            <a:extLst>
              <a:ext uri="{FF2B5EF4-FFF2-40B4-BE49-F238E27FC236}">
                <a16:creationId xmlns:a16="http://schemas.microsoft.com/office/drawing/2014/main" id="{1B6F3D72-6B91-4DEF-B581-61640B7166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84454" y="83020"/>
            <a:ext cx="1924050" cy="762000"/>
          </a:xfrm>
          <a:prstGeom prst="rect">
            <a:avLst/>
          </a:prstGeom>
        </p:spPr>
      </p:pic>
      <p:cxnSp>
        <p:nvCxnSpPr>
          <p:cNvPr id="10" name="直線コネクタ 9">
            <a:extLst>
              <a:ext uri="{FF2B5EF4-FFF2-40B4-BE49-F238E27FC236}">
                <a16:creationId xmlns:a16="http://schemas.microsoft.com/office/drawing/2014/main" id="{F1DDE67B-F529-4FB5-8B37-7E7FAA820B79}"/>
              </a:ext>
            </a:extLst>
          </p:cNvPr>
          <p:cNvCxnSpPr>
            <a:cxnSpLocks/>
          </p:cNvCxnSpPr>
          <p:nvPr userDrawn="1"/>
        </p:nvCxnSpPr>
        <p:spPr>
          <a:xfrm>
            <a:off x="0" y="908720"/>
            <a:ext cx="9144000" cy="0"/>
          </a:xfrm>
          <a:prstGeom prst="line">
            <a:avLst/>
          </a:prstGeom>
          <a:ln>
            <a:solidFill>
              <a:srgbClr val="2B73BA"/>
            </a:solidFill>
          </a:ln>
        </p:spPr>
        <p:style>
          <a:lnRef idx="1">
            <a:schemeClr val="accent1"/>
          </a:lnRef>
          <a:fillRef idx="0">
            <a:schemeClr val="accent1"/>
          </a:fillRef>
          <a:effectRef idx="0">
            <a:schemeClr val="accent1"/>
          </a:effectRef>
          <a:fontRef idx="minor">
            <a:schemeClr val="tx1"/>
          </a:fontRef>
        </p:style>
      </p:cxnSp>
      <p:sp>
        <p:nvSpPr>
          <p:cNvPr id="13" name="スライド番号プレースホルダー 5"/>
          <p:cNvSpPr>
            <a:spLocks noGrp="1"/>
          </p:cNvSpPr>
          <p:nvPr>
            <p:ph type="sldNum" sz="quarter" idx="12"/>
          </p:nvPr>
        </p:nvSpPr>
        <p:spPr>
          <a:xfrm>
            <a:off x="3505200" y="6356352"/>
            <a:ext cx="2133600" cy="365125"/>
          </a:xfrm>
        </p:spPr>
        <p:txBody>
          <a:bodyPr anchor="b"/>
          <a:lstStyle>
            <a:lvl1pPr algn="ctr">
              <a:defRPr>
                <a:solidFill>
                  <a:schemeClr val="tx1"/>
                </a:solidFill>
                <a:latin typeface="Yu Gothic UI" panose="020B0500000000000000" pitchFamily="50" charset="-128"/>
                <a:ea typeface="Yu Gothic UI" panose="020B0500000000000000" pitchFamily="50" charset="-128"/>
              </a:defRPr>
            </a:lvl1pPr>
          </a:lstStyle>
          <a:p>
            <a:fld id="{98139188-682B-46B8-8E3A-C32D863D2EEC}" type="slidenum">
              <a:rPr lang="ja-JP" altLang="en-US" smtClean="0"/>
              <a:pPr/>
              <a:t>‹#›</a:t>
            </a:fld>
            <a:endParaRPr lang="ja-JP" altLang="en-US"/>
          </a:p>
        </p:txBody>
      </p:sp>
      <p:sp>
        <p:nvSpPr>
          <p:cNvPr id="9" name="テキスト ボックス 8"/>
          <p:cNvSpPr txBox="1"/>
          <p:nvPr userDrawn="1"/>
        </p:nvSpPr>
        <p:spPr>
          <a:xfrm>
            <a:off x="251520" y="6532474"/>
            <a:ext cx="1063359" cy="216000"/>
          </a:xfrm>
          <a:prstGeom prst="rect">
            <a:avLst/>
          </a:prstGeom>
          <a:ln w="9525">
            <a:solidFill>
              <a:srgbClr val="FF0000"/>
            </a:solidFill>
          </a:ln>
        </p:spPr>
        <p:txBody>
          <a:bodyPr vert="horz" wrap="none" lIns="36000" tIns="36000" rIns="36000" bIns="36000" rtlCol="0" anchor="ctr" anchorCtr="0">
            <a:noAutofit/>
          </a:bodyPr>
          <a:lstStyle/>
          <a:p>
            <a:pPr marL="0" indent="0" algn="ctr">
              <a:buFont typeface="Arial" panose="020B0604020202020204" pitchFamily="34" charset="0"/>
              <a:buNone/>
            </a:pPr>
            <a:r>
              <a:rPr kumimoji="1" lang="en-US" altLang="ja-JP" sz="1300" b="1">
                <a:solidFill>
                  <a:srgbClr val="FF0000"/>
                </a:solidFill>
                <a:latin typeface="Yu Gothic UI" panose="020B0500000000000000" pitchFamily="50" charset="-128"/>
                <a:ea typeface="Yu Gothic UI" panose="020B0500000000000000" pitchFamily="50" charset="-128"/>
              </a:rPr>
              <a:t>Confidential</a:t>
            </a:r>
            <a:endParaRPr kumimoji="1" lang="ja-JP" altLang="en-US" sz="1300" b="1">
              <a:solidFill>
                <a:srgbClr val="FF0000"/>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55873836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コンテンツ_white_差替用">
    <p:spTree>
      <p:nvGrpSpPr>
        <p:cNvPr id="1" name=""/>
        <p:cNvGrpSpPr/>
        <p:nvPr/>
      </p:nvGrpSpPr>
      <p:grpSpPr>
        <a:xfrm>
          <a:off x="0" y="0"/>
          <a:ext cx="0" cy="0"/>
          <a:chOff x="0" y="0"/>
          <a:chExt cx="0" cy="0"/>
        </a:xfrm>
      </p:grpSpPr>
      <p:pic>
        <p:nvPicPr>
          <p:cNvPr id="8" name="グラフィックス 30">
            <a:extLst>
              <a:ext uri="{FF2B5EF4-FFF2-40B4-BE49-F238E27FC236}">
                <a16:creationId xmlns:a16="http://schemas.microsoft.com/office/drawing/2014/main" id="{1B6F3D72-6B91-4DEF-B581-61640B7166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84454" y="83020"/>
            <a:ext cx="1924050" cy="762000"/>
          </a:xfrm>
          <a:prstGeom prst="rect">
            <a:avLst/>
          </a:prstGeom>
        </p:spPr>
      </p:pic>
      <p:cxnSp>
        <p:nvCxnSpPr>
          <p:cNvPr id="10" name="直線コネクタ 9">
            <a:extLst>
              <a:ext uri="{FF2B5EF4-FFF2-40B4-BE49-F238E27FC236}">
                <a16:creationId xmlns:a16="http://schemas.microsoft.com/office/drawing/2014/main" id="{F1DDE67B-F529-4FB5-8B37-7E7FAA820B79}"/>
              </a:ext>
            </a:extLst>
          </p:cNvPr>
          <p:cNvCxnSpPr>
            <a:cxnSpLocks/>
          </p:cNvCxnSpPr>
          <p:nvPr userDrawn="1"/>
        </p:nvCxnSpPr>
        <p:spPr>
          <a:xfrm>
            <a:off x="0" y="908720"/>
            <a:ext cx="9144000" cy="0"/>
          </a:xfrm>
          <a:prstGeom prst="line">
            <a:avLst/>
          </a:prstGeom>
          <a:ln>
            <a:solidFill>
              <a:srgbClr val="2B73BA"/>
            </a:solidFill>
          </a:ln>
        </p:spPr>
        <p:style>
          <a:lnRef idx="1">
            <a:schemeClr val="accent1"/>
          </a:lnRef>
          <a:fillRef idx="0">
            <a:schemeClr val="accent1"/>
          </a:fillRef>
          <a:effectRef idx="0">
            <a:schemeClr val="accent1"/>
          </a:effectRef>
          <a:fontRef idx="minor">
            <a:schemeClr val="tx1"/>
          </a:fontRef>
        </p:style>
      </p:cxnSp>
      <p:sp>
        <p:nvSpPr>
          <p:cNvPr id="9" name="スライド番号プレースホルダー 5"/>
          <p:cNvSpPr>
            <a:spLocks noGrp="1"/>
          </p:cNvSpPr>
          <p:nvPr>
            <p:ph type="sldNum" sz="quarter" idx="12"/>
          </p:nvPr>
        </p:nvSpPr>
        <p:spPr>
          <a:xfrm>
            <a:off x="3505200" y="6356352"/>
            <a:ext cx="2133600" cy="365125"/>
          </a:xfrm>
        </p:spPr>
        <p:txBody>
          <a:bodyPr anchor="b"/>
          <a:lstStyle>
            <a:lvl1pPr algn="ctr">
              <a:defRPr>
                <a:solidFill>
                  <a:schemeClr val="tx1"/>
                </a:solidFill>
                <a:latin typeface="Yu Gothic UI" panose="020B0500000000000000" pitchFamily="50" charset="-128"/>
                <a:ea typeface="Yu Gothic UI" panose="020B0500000000000000" pitchFamily="50" charset="-128"/>
              </a:defRPr>
            </a:lvl1pPr>
          </a:lstStyle>
          <a:p>
            <a:fld id="{98139188-682B-46B8-8E3A-C32D863D2EEC}" type="slidenum">
              <a:rPr lang="ja-JP" altLang="en-US" smtClean="0"/>
              <a:pPr/>
              <a:t>‹#›</a:t>
            </a:fld>
            <a:endParaRPr lang="ja-JP" altLang="en-US"/>
          </a:p>
        </p:txBody>
      </p:sp>
      <p:sp>
        <p:nvSpPr>
          <p:cNvPr id="6" name="テキスト ボックス 5"/>
          <p:cNvSpPr txBox="1"/>
          <p:nvPr userDrawn="1"/>
        </p:nvSpPr>
        <p:spPr>
          <a:xfrm>
            <a:off x="251520" y="6532474"/>
            <a:ext cx="1063359" cy="216000"/>
          </a:xfrm>
          <a:prstGeom prst="rect">
            <a:avLst/>
          </a:prstGeom>
          <a:ln w="9525">
            <a:solidFill>
              <a:srgbClr val="FF0000"/>
            </a:solidFill>
          </a:ln>
        </p:spPr>
        <p:txBody>
          <a:bodyPr vert="horz" wrap="none" lIns="36000" tIns="36000" rIns="36000" bIns="36000" rtlCol="0" anchor="ctr" anchorCtr="0">
            <a:noAutofit/>
          </a:bodyPr>
          <a:lstStyle/>
          <a:p>
            <a:pPr marL="0" indent="0" algn="ctr">
              <a:buFont typeface="Arial" panose="020B0604020202020204" pitchFamily="34" charset="0"/>
              <a:buNone/>
            </a:pPr>
            <a:r>
              <a:rPr kumimoji="1" lang="en-US" altLang="ja-JP" sz="1300" b="1">
                <a:solidFill>
                  <a:srgbClr val="FF0000"/>
                </a:solidFill>
                <a:latin typeface="Yu Gothic UI" panose="020B0500000000000000" pitchFamily="50" charset="-128"/>
                <a:ea typeface="Yu Gothic UI" panose="020B0500000000000000" pitchFamily="50" charset="-128"/>
              </a:rPr>
              <a:t>Confidential</a:t>
            </a:r>
            <a:endParaRPr kumimoji="1" lang="ja-JP" altLang="en-US" sz="1300" b="1">
              <a:solidFill>
                <a:srgbClr val="FF0000"/>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414524548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a:extLst>
              <a:ext uri="{FF2B5EF4-FFF2-40B4-BE49-F238E27FC236}">
                <a16:creationId xmlns:a16="http://schemas.microsoft.com/office/drawing/2014/main" id="{8145FA22-8B15-8165-6374-D653E8B173C9}"/>
              </a:ext>
            </a:extLst>
          </p:cNvPr>
          <p:cNvSpPr/>
          <p:nvPr userDrawn="1"/>
        </p:nvSpPr>
        <p:spPr>
          <a:xfrm>
            <a:off x="89298" y="728663"/>
            <a:ext cx="8965406"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350"/>
          </a:p>
        </p:txBody>
      </p:sp>
      <p:sp>
        <p:nvSpPr>
          <p:cNvPr id="15" name="タイトル 66"/>
          <p:cNvSpPr>
            <a:spLocks noGrp="1"/>
          </p:cNvSpPr>
          <p:nvPr>
            <p:ph type="title" hasCustomPrompt="1"/>
          </p:nvPr>
        </p:nvSpPr>
        <p:spPr>
          <a:xfrm>
            <a:off x="562969" y="2520667"/>
            <a:ext cx="8194031" cy="1842043"/>
          </a:xfrm>
          <a:prstGeom prst="rect">
            <a:avLst/>
          </a:prstGeom>
          <a:noFill/>
        </p:spPr>
        <p:txBody>
          <a:bodyPr wrap="square" lIns="0" tIns="0" rIns="0" bIns="0" anchor="t">
            <a:noAutofit/>
          </a:bodyPr>
          <a:lstStyle>
            <a:lvl1pPr>
              <a:lnSpc>
                <a:spcPct val="95000"/>
              </a:lnSpc>
              <a:defRPr sz="3150" b="1" spc="-75"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562969" y="4704321"/>
            <a:ext cx="8194031" cy="553998"/>
          </a:xfrm>
          <a:prstGeom prst="rect">
            <a:avLst/>
          </a:prstGeom>
          <a:noFill/>
        </p:spPr>
        <p:txBody>
          <a:bodyPr wrap="square" lIns="0" tIns="0" rIns="0" bIns="0" anchor="t" anchorCtr="0">
            <a:noAutofit/>
          </a:bodyPr>
          <a:lstStyle>
            <a:lvl1pPr marL="0" indent="0" defTabSz="118800">
              <a:lnSpc>
                <a:spcPct val="100000"/>
              </a:lnSpc>
              <a:spcBef>
                <a:spcPts val="0"/>
              </a:spcBef>
              <a:buNone/>
              <a:defRPr sz="1350" b="0" spc="-23" baseline="0">
                <a:latin typeface="+mj-lt"/>
                <a:ea typeface="+mj-ea"/>
              </a:defRPr>
            </a:lvl1pPr>
            <a:lvl2pPr marL="0" indent="0" defTabSz="118800">
              <a:buNone/>
              <a:defRPr sz="1050" b="1"/>
            </a:lvl2pPr>
            <a:lvl3pPr marL="0" indent="0" defTabSz="118800">
              <a:buNone/>
              <a:defRPr b="1"/>
            </a:lvl3pPr>
            <a:lvl4pPr marL="1028700" indent="0">
              <a:buNone/>
              <a:defRPr/>
            </a:lvl4pPr>
            <a:lvl5pPr marL="13716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562971" y="1653463"/>
            <a:ext cx="8194030" cy="369332"/>
          </a:xfrm>
          <a:prstGeom prst="rect">
            <a:avLst/>
          </a:prstGeom>
        </p:spPr>
        <p:txBody>
          <a:bodyPr lIns="0" tIns="0" rIns="0" bIns="0" anchor="ctr">
            <a:noAutofit/>
          </a:bodyPr>
          <a:lstStyle>
            <a:lvl1pPr marL="0" indent="0">
              <a:spcBef>
                <a:spcPts val="0"/>
              </a:spcBef>
              <a:buNone/>
              <a:defRPr sz="1800" b="0" spc="-23"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sp>
        <p:nvSpPr>
          <p:cNvPr id="13" name="テキスト ボックス 12">
            <a:extLst>
              <a:ext uri="{FF2B5EF4-FFF2-40B4-BE49-F238E27FC236}">
                <a16:creationId xmlns:a16="http://schemas.microsoft.com/office/drawing/2014/main" id="{3D317733-1BDA-7840-87EC-1AB6D30D915E}"/>
              </a:ext>
            </a:extLst>
          </p:cNvPr>
          <p:cNvSpPr txBox="1"/>
          <p:nvPr userDrawn="1"/>
        </p:nvSpPr>
        <p:spPr>
          <a:xfrm>
            <a:off x="8076090" y="6427476"/>
            <a:ext cx="891000" cy="181485"/>
          </a:xfrm>
          <a:prstGeom prst="rect">
            <a:avLst/>
          </a:prstGeom>
          <a:noFill/>
          <a:ln>
            <a:solidFill>
              <a:srgbClr val="FF0000"/>
            </a:solidFill>
          </a:ln>
        </p:spPr>
        <p:txBody>
          <a:bodyPr wrap="square" lIns="27000" tIns="27000" rIns="27000" bIns="27000" rtlCol="0" anchor="ctr">
            <a:spAutoFit/>
          </a:bodyPr>
          <a:lstStyle/>
          <a:p>
            <a:pPr algn="ctr"/>
            <a:r>
              <a:rPr kumimoji="1" lang="en-US" altLang="ja-JP" sz="825" b="0" i="0">
                <a:solidFill>
                  <a:srgbClr val="FF0000"/>
                </a:solidFill>
                <a:latin typeface="+mj-lt"/>
                <a:ea typeface="MS Gothic" panose="020B0609070205080204" pitchFamily="49" charset="-128"/>
              </a:rPr>
              <a:t>CONFIDENTIAL</a:t>
            </a:r>
            <a:endParaRPr kumimoji="1" lang="ja-JP" altLang="en-US" sz="825" b="0" i="0">
              <a:solidFill>
                <a:srgbClr val="FF0000"/>
              </a:solidFill>
              <a:latin typeface="+mj-lt"/>
              <a:ea typeface="MS Gothic" panose="020B0609070205080204" pitchFamily="49" charset="-128"/>
            </a:endParaRPr>
          </a:p>
        </p:txBody>
      </p:sp>
      <p:pic>
        <p:nvPicPr>
          <p:cNvPr id="3" name="図 2" descr="テキスト&#10;&#10;中程度の精度で自動的に生成された説明">
            <a:extLst>
              <a:ext uri="{FF2B5EF4-FFF2-40B4-BE49-F238E27FC236}">
                <a16:creationId xmlns:a16="http://schemas.microsoft.com/office/drawing/2014/main" id="{64AB173A-EA3B-7645-9D0D-8E3868B4053B}"/>
              </a:ext>
            </a:extLst>
          </p:cNvPr>
          <p:cNvPicPr>
            <a:picLocks noChangeAspect="1"/>
          </p:cNvPicPr>
          <p:nvPr userDrawn="1"/>
        </p:nvPicPr>
        <p:blipFill>
          <a:blip r:embed="rId2"/>
          <a:stretch>
            <a:fillRect/>
          </a:stretch>
        </p:blipFill>
        <p:spPr>
          <a:xfrm>
            <a:off x="7447526" y="66263"/>
            <a:ext cx="1636518" cy="662400"/>
          </a:xfrm>
          <a:prstGeom prst="rect">
            <a:avLst/>
          </a:prstGeom>
        </p:spPr>
      </p:pic>
    </p:spTree>
    <p:extLst>
      <p:ext uri="{BB962C8B-B14F-4D97-AF65-F5344CB8AC3E}">
        <p14:creationId xmlns:p14="http://schemas.microsoft.com/office/powerpoint/2010/main" val="3998771623"/>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137499107"/>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385477" y="5040010"/>
            <a:ext cx="4187077"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85477" y="5652010"/>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85476" y="6408003"/>
            <a:ext cx="4187077"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572000" y="396000"/>
            <a:ext cx="4187077"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384458" y="432000"/>
            <a:ext cx="1728000" cy="587972"/>
          </a:xfrm>
          <a:prstGeom prst="rect">
            <a:avLst/>
          </a:prstGeom>
        </p:spPr>
      </p:pic>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1058155235"/>
      </p:ext>
    </p:extLst>
  </p:cSld>
  <p:clrMapOvr>
    <a:masterClrMapping/>
  </p:clrMapOvr>
  <p:hf hdr="0"/>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838639486"/>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328923" y="999000"/>
            <a:ext cx="4486154"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385477" y="5040010"/>
            <a:ext cx="4187077"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385477" y="5652010"/>
            <a:ext cx="4187077"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385476" y="6408003"/>
            <a:ext cx="4187077"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2543739819"/>
      </p:ext>
    </p:extLst>
  </p:cSld>
  <p:clrMapOvr>
    <a:masterClrMapping/>
  </p:clrMapOvr>
  <p:hf hdr="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tags" Target="../tags/tag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heme" Target="../theme/theme3.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image" Target="../media/image4.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19" Type="http://schemas.openxmlformats.org/officeDocument/2006/relationships/oleObject" Target="../embeddings/oleObject4.bin"/><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1.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2.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oleObject" Target="../embeddings/oleObject36.bin"/><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tags" Target="../tags/tag47.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heme" Target="../theme/theme5.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image" Target="../media/image1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image" Target="../media/image15.emf"/><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oleObject" Target="../embeddings/oleObject60.bin"/><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tags" Target="../tags/tag72.xml"/><Relationship Id="rId5" Type="http://schemas.openxmlformats.org/officeDocument/2006/relationships/slideLayout" Target="../slideLayouts/slideLayout74.xml"/><Relationship Id="rId10" Type="http://schemas.openxmlformats.org/officeDocument/2006/relationships/theme" Target="../theme/theme6.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8BB8C0E-288F-4F85-A195-FC8D03F654AD}"/>
              </a:ext>
            </a:extLst>
          </p:cNvPr>
          <p:cNvGraphicFramePr>
            <a:graphicFrameLocks noChangeAspect="1"/>
          </p:cNvGraphicFramePr>
          <p:nvPr userDrawn="1">
            <p:custDataLst>
              <p:tags r:id="rId6"/>
            </p:custDataLst>
            <p:extLst>
              <p:ext uri="{D42A27DB-BD31-4B8C-83A1-F6EECF244321}">
                <p14:modId xmlns:p14="http://schemas.microsoft.com/office/powerpoint/2010/main" val="337996937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7" imgW="624" imgH="623" progId="TCLayout.ActiveDocument.1">
                  <p:embed/>
                </p:oleObj>
              </mc:Choice>
              <mc:Fallback>
                <p:oleObj name="think-cellスライド" r:id="rId7" imgW="624" imgH="623" progId="TCLayout.ActiveDocument.1">
                  <p:embed/>
                  <p:pic>
                    <p:nvPicPr>
                      <p:cNvPr id="3" name="オブジェクト 2" hidden="1">
                        <a:extLst>
                          <a:ext uri="{FF2B5EF4-FFF2-40B4-BE49-F238E27FC236}">
                            <a16:creationId xmlns:a16="http://schemas.microsoft.com/office/drawing/2014/main" id="{D8BB8C0E-288F-4F85-A195-FC8D03F654AD}"/>
                          </a:ext>
                        </a:extLst>
                      </p:cNvPr>
                      <p:cNvPicPr/>
                      <p:nvPr/>
                    </p:nvPicPr>
                    <p:blipFill>
                      <a:blip r:embed="rId8"/>
                      <a:stretch>
                        <a:fillRect/>
                      </a:stretch>
                    </p:blipFill>
                    <p:spPr>
                      <a:xfrm>
                        <a:off x="1191" y="1588"/>
                        <a:ext cx="1191" cy="1588"/>
                      </a:xfrm>
                      <a:prstGeom prst="rect">
                        <a:avLst/>
                      </a:prstGeom>
                    </p:spPr>
                  </p:pic>
                </p:oleObj>
              </mc:Fallback>
            </mc:AlternateContent>
          </a:graphicData>
        </a:graphic>
      </p:graphicFrame>
      <p:sp>
        <p:nvSpPr>
          <p:cNvPr id="5" name="タイトル プレースホルダー 4">
            <a:extLst>
              <a:ext uri="{FF2B5EF4-FFF2-40B4-BE49-F238E27FC236}">
                <a16:creationId xmlns:a16="http://schemas.microsoft.com/office/drawing/2014/main" id="{20757BDD-7C5A-9847-972C-E62918DA2709}"/>
              </a:ext>
            </a:extLst>
          </p:cNvPr>
          <p:cNvSpPr>
            <a:spLocks noGrp="1"/>
          </p:cNvSpPr>
          <p:nvPr>
            <p:ph type="title"/>
          </p:nvPr>
        </p:nvSpPr>
        <p:spPr>
          <a:xfrm>
            <a:off x="310752" y="255264"/>
            <a:ext cx="7161398"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a:extLst>
              <a:ext uri="{FF2B5EF4-FFF2-40B4-BE49-F238E27FC236}">
                <a16:creationId xmlns:a16="http://schemas.microsoft.com/office/drawing/2014/main" id="{DAEC7C21-0104-334A-9DA4-A217535898C9}"/>
              </a:ext>
            </a:extLst>
          </p:cNvPr>
          <p:cNvSpPr>
            <a:spLocks noGrp="1"/>
          </p:cNvSpPr>
          <p:nvPr>
            <p:ph type="body" idx="1"/>
          </p:nvPr>
        </p:nvSpPr>
        <p:spPr>
          <a:xfrm>
            <a:off x="305992" y="1187354"/>
            <a:ext cx="8667749" cy="5049933"/>
          </a:xfrm>
          <a:prstGeom prst="rect">
            <a:avLst/>
          </a:prstGeom>
        </p:spPr>
        <p:txBody>
          <a:bodyPr vert="horz" lIns="0" tIns="0" rIns="0" bIns="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696390841"/>
      </p:ext>
    </p:extLst>
  </p:cSld>
  <p:clrMap bg1="lt1" tx1="dk1" bg2="lt2" tx2="dk2" accent1="accent1" accent2="accent2" accent3="accent3" accent4="accent4" accent5="accent5" accent6="accent6" hlink="hlink" folHlink="folHlink"/>
  <p:sldLayoutIdLst>
    <p:sldLayoutId id="2147483821" r:id="rId1"/>
    <p:sldLayoutId id="2147483858" r:id="rId2"/>
    <p:sldLayoutId id="2147483864" r:id="rId3"/>
    <p:sldLayoutId id="2147483958" r:id="rId4"/>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p:titleStyle>
    <p:bodyStyle>
      <a:lvl1pPr marL="285750" indent="-285750" algn="l" defTabSz="914400" rtl="0" eaLnBrk="1" latinLnBrk="0" hangingPunct="1">
        <a:lnSpc>
          <a:spcPct val="100000"/>
        </a:lnSpc>
        <a:spcBef>
          <a:spcPts val="1000"/>
        </a:spcBef>
        <a:buFont typeface="Arial" panose="020B0604020202020204" pitchFamily="34" charset="0"/>
        <a:buChar char="•"/>
        <a:defRPr kumimoji="1" sz="1600" kern="1200" baseline="0">
          <a:solidFill>
            <a:schemeClr val="tx1"/>
          </a:solidFill>
          <a:latin typeface="+mn-lt"/>
          <a:ea typeface="+mn-ea"/>
          <a:cs typeface="+mn-cs"/>
        </a:defRPr>
      </a:lvl1pPr>
      <a:lvl2pPr marL="64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100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3pPr>
      <a:lvl4pPr marL="136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4pPr>
      <a:lvl5pPr marL="172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userDrawn="1">
          <p15:clr>
            <a:srgbClr val="F26B43"/>
          </p15:clr>
        </p15:guide>
        <p15:guide id="2" pos="2880" userDrawn="1">
          <p15:clr>
            <a:srgbClr val="F26B43"/>
          </p15:clr>
        </p15:guide>
        <p15:guide id="4" pos="5653" userDrawn="1">
          <p15:clr>
            <a:srgbClr val="F26B43"/>
          </p15:clr>
        </p15:guide>
        <p15:guide id="5" pos="19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20176253-E33D-4B5B-873F-452B85359265}"/>
              </a:ext>
            </a:extLst>
          </p:cNvPr>
          <p:cNvGraphicFramePr>
            <a:graphicFrameLocks noChangeAspect="1"/>
          </p:cNvGraphicFramePr>
          <p:nvPr userDrawn="1">
            <p:custDataLst>
              <p:tags r:id="rId5"/>
            </p:custDataLst>
            <p:extLst>
              <p:ext uri="{D42A27DB-BD31-4B8C-83A1-F6EECF244321}">
                <p14:modId xmlns:p14="http://schemas.microsoft.com/office/powerpoint/2010/main" val="170817220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6" imgW="624" imgH="623" progId="TCLayout.ActiveDocument.1">
                  <p:embed/>
                </p:oleObj>
              </mc:Choice>
              <mc:Fallback>
                <p:oleObj name="think-cellスライド" r:id="rId6" imgW="624" imgH="623" progId="TCLayout.ActiveDocument.1">
                  <p:embed/>
                  <p:pic>
                    <p:nvPicPr>
                      <p:cNvPr id="3" name="オブジェクト 2" hidden="1">
                        <a:extLst>
                          <a:ext uri="{FF2B5EF4-FFF2-40B4-BE49-F238E27FC236}">
                            <a16:creationId xmlns:a16="http://schemas.microsoft.com/office/drawing/2014/main" id="{20176253-E33D-4B5B-873F-452B85359265}"/>
                          </a:ext>
                        </a:extLst>
                      </p:cNvPr>
                      <p:cNvPicPr/>
                      <p:nvPr/>
                    </p:nvPicPr>
                    <p:blipFill>
                      <a:blip r:embed="rId7"/>
                      <a:stretch>
                        <a:fillRect/>
                      </a:stretch>
                    </p:blipFill>
                    <p:spPr>
                      <a:xfrm>
                        <a:off x="1191" y="1588"/>
                        <a:ext cx="1191" cy="1588"/>
                      </a:xfrm>
                      <a:prstGeom prst="rect">
                        <a:avLst/>
                      </a:prstGeom>
                    </p:spPr>
                  </p:pic>
                </p:oleObj>
              </mc:Fallback>
            </mc:AlternateContent>
          </a:graphicData>
        </a:graphic>
      </p:graphicFrame>
      <p:sp>
        <p:nvSpPr>
          <p:cNvPr id="5" name="タイトル プレースホルダー 4">
            <a:extLst>
              <a:ext uri="{FF2B5EF4-FFF2-40B4-BE49-F238E27FC236}">
                <a16:creationId xmlns:a16="http://schemas.microsoft.com/office/drawing/2014/main" id="{20757BDD-7C5A-9847-972C-E62918DA2709}"/>
              </a:ext>
            </a:extLst>
          </p:cNvPr>
          <p:cNvSpPr>
            <a:spLocks noGrp="1"/>
          </p:cNvSpPr>
          <p:nvPr>
            <p:ph type="title"/>
          </p:nvPr>
        </p:nvSpPr>
        <p:spPr>
          <a:xfrm>
            <a:off x="310752" y="255264"/>
            <a:ext cx="7161398"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a:extLst>
              <a:ext uri="{FF2B5EF4-FFF2-40B4-BE49-F238E27FC236}">
                <a16:creationId xmlns:a16="http://schemas.microsoft.com/office/drawing/2014/main" id="{DAEC7C21-0104-334A-9DA4-A217535898C9}"/>
              </a:ext>
            </a:extLst>
          </p:cNvPr>
          <p:cNvSpPr>
            <a:spLocks noGrp="1"/>
          </p:cNvSpPr>
          <p:nvPr>
            <p:ph type="body" idx="1"/>
          </p:nvPr>
        </p:nvSpPr>
        <p:spPr>
          <a:xfrm>
            <a:off x="305992" y="1187354"/>
            <a:ext cx="8667749" cy="5049933"/>
          </a:xfrm>
          <a:prstGeom prst="rect">
            <a:avLst/>
          </a:prstGeom>
        </p:spPr>
        <p:txBody>
          <a:bodyPr vert="horz" lIns="0" tIns="0" rIns="0" bIns="0" rtlCol="0">
            <a:normAutofit/>
          </a:body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マスター テキストの書式設定</a:t>
            </a:r>
          </a:p>
          <a:p>
            <a:pPr marL="645750"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2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a:p>
            <a:pPr marL="1005750" marR="0" lvl="2"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3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a:p>
            <a:pPr marL="1365750" marR="0" lvl="3"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4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a:p>
            <a:pPr marL="1725750" marR="0" lvl="4"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5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p:txBody>
      </p:sp>
    </p:spTree>
    <p:extLst>
      <p:ext uri="{BB962C8B-B14F-4D97-AF65-F5344CB8AC3E}">
        <p14:creationId xmlns:p14="http://schemas.microsoft.com/office/powerpoint/2010/main" val="3522324436"/>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p:titleStyle>
    <p:bodyStyle>
      <a:lvl1pPr marL="0" indent="0" algn="l" defTabSz="914400" rtl="0" eaLnBrk="1" latinLnBrk="0" hangingPunct="1">
        <a:lnSpc>
          <a:spcPct val="100000"/>
        </a:lnSpc>
        <a:spcBef>
          <a:spcPts val="1000"/>
        </a:spcBef>
        <a:buFont typeface="Arial" panose="020B0604020202020204" pitchFamily="34" charset="0"/>
        <a:buNone/>
        <a:defRPr kumimoji="1" sz="1600" kern="1200" baseline="0">
          <a:solidFill>
            <a:schemeClr val="tx1"/>
          </a:solidFill>
          <a:latin typeface="+mn-lt"/>
          <a:ea typeface="+mn-ea"/>
          <a:cs typeface="+mn-cs"/>
        </a:defRPr>
      </a:lvl1pPr>
      <a:lvl2pPr marL="36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2pPr>
      <a:lvl3pPr marL="72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3pPr>
      <a:lvl4pPr marL="108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4pPr>
      <a:lvl5pPr marL="144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userDrawn="1">
          <p15:clr>
            <a:srgbClr val="F26B43"/>
          </p15:clr>
        </p15:guide>
        <p15:guide id="2" pos="2880" userDrawn="1">
          <p15:clr>
            <a:srgbClr val="F26B43"/>
          </p15:clr>
        </p15:guide>
        <p15:guide id="4" pos="5653" userDrawn="1">
          <p15:clr>
            <a:srgbClr val="F26B43"/>
          </p15:clr>
        </p15:guide>
        <p15:guide id="5" pos="19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8"/>
            </p:custDataLst>
            <p:extLst>
              <p:ext uri="{D42A27DB-BD31-4B8C-83A1-F6EECF244321}">
                <p14:modId xmlns:p14="http://schemas.microsoft.com/office/powerpoint/2010/main" val="3597090605"/>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スライド" r:id="rId19" imgW="563" imgH="564" progId="TCLayout.ActiveDocument.1">
                  <p:embed/>
                </p:oleObj>
              </mc:Choice>
              <mc:Fallback>
                <p:oleObj name="think-cellスライド" r:id="rId19" imgW="563" imgH="564" progId="TCLayout.ActiveDocument.1">
                  <p:embed/>
                  <p:pic>
                    <p:nvPicPr>
                      <p:cNvPr id="4" name="オブジェクト 3" hidden="1"/>
                      <p:cNvPicPr/>
                      <p:nvPr/>
                    </p:nvPicPr>
                    <p:blipFill>
                      <a:blip r:embed="rId20"/>
                      <a:stretch>
                        <a:fillRect/>
                      </a:stretch>
                    </p:blipFill>
                    <p:spPr>
                      <a:xfrm>
                        <a:off x="1466" y="1588"/>
                        <a:ext cx="1466" cy="1588"/>
                      </a:xfrm>
                      <a:prstGeom prst="rect">
                        <a:avLst/>
                      </a:prstGeom>
                    </p:spPr>
                  </p:pic>
                </p:oleObj>
              </mc:Fallback>
            </mc:AlternateContent>
          </a:graphicData>
        </a:graphic>
      </p:graphicFrame>
      <p:sp>
        <p:nvSpPr>
          <p:cNvPr id="2" name="Title Placeholder 1"/>
          <p:cNvSpPr>
            <a:spLocks noGrp="1"/>
          </p:cNvSpPr>
          <p:nvPr>
            <p:ph type="title"/>
          </p:nvPr>
        </p:nvSpPr>
        <p:spPr bwMode="gray">
          <a:xfrm>
            <a:off x="384923" y="180000"/>
            <a:ext cx="8374154"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651324" y="6588000"/>
            <a:ext cx="3755077"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r>
              <a:rPr lang="en-GB" altLang="en-GB"/>
              <a:t>DT Template A4</a:t>
            </a:r>
          </a:p>
        </p:txBody>
      </p:sp>
      <p:sp>
        <p:nvSpPr>
          <p:cNvPr id="9" name="スライド番号プレースホルダ 9"/>
          <p:cNvSpPr>
            <a:spLocks noGrp="1"/>
          </p:cNvSpPr>
          <p:nvPr>
            <p:ph type="sldNum" sz="quarter" idx="4"/>
          </p:nvPr>
        </p:nvSpPr>
        <p:spPr bwMode="gray">
          <a:xfrm>
            <a:off x="385477" y="6588000"/>
            <a:ext cx="166154"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15" name="Text Box 37"/>
          <p:cNvSpPr txBox="1">
            <a:spLocks noChangeArrowheads="1"/>
          </p:cNvSpPr>
          <p:nvPr/>
        </p:nvSpPr>
        <p:spPr bwMode="gray">
          <a:xfrm>
            <a:off x="4738154" y="6588000"/>
            <a:ext cx="4020923"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2. For information, contact Deloitte Tohmatsu Group.</a:t>
            </a:r>
          </a:p>
        </p:txBody>
      </p:sp>
      <p:sp>
        <p:nvSpPr>
          <p:cNvPr id="3" name="テキスト プレースホルダー 2"/>
          <p:cNvSpPr>
            <a:spLocks noGrp="1"/>
          </p:cNvSpPr>
          <p:nvPr>
            <p:ph type="body" idx="1"/>
          </p:nvPr>
        </p:nvSpPr>
        <p:spPr bwMode="gray">
          <a:xfrm>
            <a:off x="384923" y="1476000"/>
            <a:ext cx="8375147"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4127169" y="6444007"/>
            <a:ext cx="889667"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44" r:id="rId2"/>
    <p:sldLayoutId id="2147483951" r:id="rId3"/>
    <p:sldLayoutId id="2147483952" r:id="rId4"/>
    <p:sldLayoutId id="2147483911" r:id="rId5"/>
    <p:sldLayoutId id="2147483912" r:id="rId6"/>
    <p:sldLayoutId id="2147483934" r:id="rId7"/>
    <p:sldLayoutId id="2147483936" r:id="rId8"/>
    <p:sldLayoutId id="2147483953" r:id="rId9"/>
    <p:sldLayoutId id="2147483937" r:id="rId10"/>
    <p:sldLayoutId id="2147483938" r:id="rId11"/>
    <p:sldLayoutId id="2147483939" r:id="rId12"/>
    <p:sldLayoutId id="2147483954" r:id="rId13"/>
    <p:sldLayoutId id="2147483955" r:id="rId14"/>
    <p:sldLayoutId id="2147483956" r:id="rId15"/>
    <p:sldLayoutId id="2147483957" r:id="rId16"/>
  </p:sldLayoutIdLst>
  <p:hf hdr="0"/>
  <p:txStyles>
    <p:titleStyle>
      <a:lvl1pPr algn="l" defTabSz="990639"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639"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13" marR="0" indent="-180013" algn="l" defTabSz="990639"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27" marR="0" indent="-180013" algn="l" defTabSz="990639"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38" marR="0" indent="-144011" algn="l" defTabSz="990639"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51" indent="-180013" algn="l" defTabSz="865090"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65" indent="-180013" algn="l" defTabSz="990639"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223" indent="-191107" algn="l" defTabSz="990639"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223" indent="-191107" algn="l" defTabSz="99063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223" indent="-191107" algn="l" defTabSz="99063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39" rtl="0" eaLnBrk="1" latinLnBrk="0" hangingPunct="1">
        <a:defRPr kumimoji="1" sz="1950" kern="1200">
          <a:solidFill>
            <a:schemeClr val="tx1"/>
          </a:solidFill>
          <a:latin typeface="+mn-lt"/>
          <a:ea typeface="+mn-ea"/>
          <a:cs typeface="+mn-cs"/>
        </a:defRPr>
      </a:lvl1pPr>
      <a:lvl2pPr marL="495320" algn="l" defTabSz="990639" rtl="0" eaLnBrk="1" latinLnBrk="0" hangingPunct="1">
        <a:defRPr kumimoji="1" sz="1950" kern="1200">
          <a:solidFill>
            <a:schemeClr val="tx1"/>
          </a:solidFill>
          <a:latin typeface="+mn-lt"/>
          <a:ea typeface="+mn-ea"/>
          <a:cs typeface="+mn-cs"/>
        </a:defRPr>
      </a:lvl2pPr>
      <a:lvl3pPr marL="990639" algn="l" defTabSz="990639" rtl="0" eaLnBrk="1" latinLnBrk="0" hangingPunct="1">
        <a:defRPr kumimoji="1" sz="1950" kern="1200">
          <a:solidFill>
            <a:schemeClr val="tx1"/>
          </a:solidFill>
          <a:latin typeface="+mn-lt"/>
          <a:ea typeface="+mn-ea"/>
          <a:cs typeface="+mn-cs"/>
        </a:defRPr>
      </a:lvl3pPr>
      <a:lvl4pPr marL="1485957" algn="l" defTabSz="990639" rtl="0" eaLnBrk="1" latinLnBrk="0" hangingPunct="1">
        <a:defRPr kumimoji="1" sz="1950" kern="1200">
          <a:solidFill>
            <a:schemeClr val="tx1"/>
          </a:solidFill>
          <a:latin typeface="+mn-lt"/>
          <a:ea typeface="+mn-ea"/>
          <a:cs typeface="+mn-cs"/>
        </a:defRPr>
      </a:lvl4pPr>
      <a:lvl5pPr marL="1981275" algn="l" defTabSz="990639" rtl="0" eaLnBrk="1" latinLnBrk="0" hangingPunct="1">
        <a:defRPr kumimoji="1" sz="1950" kern="1200">
          <a:solidFill>
            <a:schemeClr val="tx1"/>
          </a:solidFill>
          <a:latin typeface="+mn-lt"/>
          <a:ea typeface="+mn-ea"/>
          <a:cs typeface="+mn-cs"/>
        </a:defRPr>
      </a:lvl5pPr>
      <a:lvl6pPr marL="2476596" algn="l" defTabSz="990639" rtl="0" eaLnBrk="1" latinLnBrk="0" hangingPunct="1">
        <a:defRPr kumimoji="1" sz="1950" kern="1200">
          <a:solidFill>
            <a:schemeClr val="tx1"/>
          </a:solidFill>
          <a:latin typeface="+mn-lt"/>
          <a:ea typeface="+mn-ea"/>
          <a:cs typeface="+mn-cs"/>
        </a:defRPr>
      </a:lvl6pPr>
      <a:lvl7pPr marL="2971915" algn="l" defTabSz="990639" rtl="0" eaLnBrk="1" latinLnBrk="0" hangingPunct="1">
        <a:defRPr kumimoji="1" sz="1950" kern="1200">
          <a:solidFill>
            <a:schemeClr val="tx1"/>
          </a:solidFill>
          <a:latin typeface="+mn-lt"/>
          <a:ea typeface="+mn-ea"/>
          <a:cs typeface="+mn-cs"/>
        </a:defRPr>
      </a:lvl7pPr>
      <a:lvl8pPr marL="3467232" algn="l" defTabSz="990639" rtl="0" eaLnBrk="1" latinLnBrk="0" hangingPunct="1">
        <a:defRPr kumimoji="1" sz="1950" kern="1200">
          <a:solidFill>
            <a:schemeClr val="tx1"/>
          </a:solidFill>
          <a:latin typeface="+mn-lt"/>
          <a:ea typeface="+mn-ea"/>
          <a:cs typeface="+mn-cs"/>
        </a:defRPr>
      </a:lvl8pPr>
      <a:lvl9pPr marL="3962552" algn="l" defTabSz="990639"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880" userDrawn="1">
          <p15:clr>
            <a:srgbClr val="A4A3A4"/>
          </p15:clr>
        </p15:guide>
        <p15:guide id="1" orient="horz" pos="96" userDrawn="1">
          <p15:clr>
            <a:srgbClr val="A4A3A4"/>
          </p15:clr>
        </p15:guide>
        <p15:guide id="2" pos="2776" userDrawn="1">
          <p15:clr>
            <a:srgbClr val="A4A3A4"/>
          </p15:clr>
        </p15:guide>
        <p15:guide id="3" pos="2984" userDrawn="1">
          <p15:clr>
            <a:srgbClr val="A4A3A4"/>
          </p15:clr>
        </p15:guide>
        <p15:guide id="4" pos="5519" userDrawn="1">
          <p15:clr>
            <a:srgbClr val="A4A3A4"/>
          </p15:clr>
        </p15:guide>
        <p15:guide id="5" pos="242" userDrawn="1">
          <p15:clr>
            <a:srgbClr val="A4A3A4"/>
          </p15:clr>
        </p15:guide>
        <p15:guide id="6" orient="horz" pos="504" userDrawn="1">
          <p15:clr>
            <a:srgbClr val="A4A3A4"/>
          </p15:clr>
        </p15:guide>
        <p15:guide id="7" orient="horz" pos="640" userDrawn="1">
          <p15:clr>
            <a:srgbClr val="A4A3A4"/>
          </p15:clr>
        </p15:guide>
        <p15:guide id="8" orient="horz" pos="935" userDrawn="1">
          <p15:clr>
            <a:srgbClr val="A4A3A4"/>
          </p15:clr>
        </p15:guide>
        <p15:guide id="9" orient="horz" pos="3974" userDrawn="1">
          <p15:clr>
            <a:srgbClr val="A4A3A4"/>
          </p15:clr>
        </p15:guide>
        <p15:guide id="10" orient="horz" pos="4156" userDrawn="1">
          <p15:clr>
            <a:srgbClr val="A4A3A4"/>
          </p15:clr>
        </p15:guide>
        <p15:guide id="11" orient="horz" pos="4269"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86ACD3C-B1FD-4D8B-B85B-1B25921C344F}"/>
              </a:ext>
            </a:extLst>
          </p:cNvPr>
          <p:cNvGraphicFramePr>
            <a:graphicFrameLocks noChangeAspect="1"/>
          </p:cNvGraphicFramePr>
          <p:nvPr userDrawn="1">
            <p:custDataLst>
              <p:tags r:id="rId25"/>
            </p:custDataLst>
            <p:extLst>
              <p:ext uri="{D42A27DB-BD31-4B8C-83A1-F6EECF244321}">
                <p14:modId xmlns:p14="http://schemas.microsoft.com/office/powerpoint/2010/main" val="8694802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26" imgW="444" imgH="443" progId="TCLayout.ActiveDocument.1">
                  <p:embed/>
                </p:oleObj>
              </mc:Choice>
              <mc:Fallback>
                <p:oleObj name="think-cellスライド" r:id="rId26" imgW="444" imgH="443" progId="TCLayout.ActiveDocument.1">
                  <p:embed/>
                  <p:pic>
                    <p:nvPicPr>
                      <p:cNvPr id="4" name="オブジェクト 3" hidden="1">
                        <a:extLst>
                          <a:ext uri="{FF2B5EF4-FFF2-40B4-BE49-F238E27FC236}">
                            <a16:creationId xmlns:a16="http://schemas.microsoft.com/office/drawing/2014/main" id="{886ACD3C-B1FD-4D8B-B85B-1B25921C344F}"/>
                          </a:ext>
                        </a:extLst>
                      </p:cNvPr>
                      <p:cNvPicPr/>
                      <p:nvPr/>
                    </p:nvPicPr>
                    <p:blipFill>
                      <a:blip r:embed="rId27"/>
                      <a:stretch>
                        <a:fillRect/>
                      </a:stretch>
                    </p:blipFill>
                    <p:spPr>
                      <a:xfrm>
                        <a:off x="1191" y="1588"/>
                        <a:ext cx="1191" cy="1588"/>
                      </a:xfrm>
                      <a:prstGeom prst="rect">
                        <a:avLst/>
                      </a:prstGeom>
                    </p:spPr>
                  </p:pic>
                </p:oleObj>
              </mc:Fallback>
            </mc:AlternateContent>
          </a:graphicData>
        </a:graphic>
      </p:graphicFrame>
      <p:sp>
        <p:nvSpPr>
          <p:cNvPr id="2" name="Title Placeholder 1"/>
          <p:cNvSpPr>
            <a:spLocks noGrp="1"/>
          </p:cNvSpPr>
          <p:nvPr>
            <p:ph type="title"/>
          </p:nvPr>
        </p:nvSpPr>
        <p:spPr bwMode="gray">
          <a:xfrm>
            <a:off x="360000" y="108000"/>
            <a:ext cx="8424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548100" y="6588000"/>
            <a:ext cx="3888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360000" y="6588000"/>
            <a:ext cx="135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fld id="{AA5FCFE5-FE56-4EF1-80A8-07776887C2A1}" type="slidenum">
              <a:rPr lang="ja-JP" altLang="en-US" smtClean="0"/>
              <a:pPr/>
              <a:t>‹#›</a:t>
            </a:fld>
            <a:endParaRPr lang="ja-JP" altLang="en-US"/>
          </a:p>
        </p:txBody>
      </p:sp>
      <p:sp>
        <p:nvSpPr>
          <p:cNvPr id="15" name="Text Box 37"/>
          <p:cNvSpPr txBox="1">
            <a:spLocks noChangeArrowheads="1"/>
          </p:cNvSpPr>
          <p:nvPr/>
        </p:nvSpPr>
        <p:spPr bwMode="gray">
          <a:xfrm>
            <a:off x="4707000" y="6588000"/>
            <a:ext cx="4077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4. For information, contact Deloitte Tohmatsu Group.</a:t>
            </a:r>
          </a:p>
        </p:txBody>
      </p:sp>
      <p:sp>
        <p:nvSpPr>
          <p:cNvPr id="3" name="テキスト プレースホルダー 2"/>
          <p:cNvSpPr>
            <a:spLocks noGrp="1"/>
          </p:cNvSpPr>
          <p:nvPr>
            <p:ph type="body" idx="1"/>
          </p:nvPr>
        </p:nvSpPr>
        <p:spPr bwMode="gray">
          <a:xfrm>
            <a:off x="360000" y="1476000"/>
            <a:ext cx="8424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a:extLst>
              <a:ext uri="{FF2B5EF4-FFF2-40B4-BE49-F238E27FC236}">
                <a16:creationId xmlns:a16="http://schemas.microsoft.com/office/drawing/2014/main" id="{E0E64AB6-CEBE-4B69-BA95-262258503BE9}"/>
              </a:ext>
            </a:extLst>
          </p:cNvPr>
          <p:cNvSpPr>
            <a:spLocks noGrp="1"/>
          </p:cNvSpPr>
          <p:nvPr>
            <p:ph type="dt" sz="half" idx="2"/>
          </p:nvPr>
        </p:nvSpPr>
        <p:spPr bwMode="gray">
          <a:xfrm>
            <a:off x="4127167" y="6444001"/>
            <a:ext cx="889667"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a:extLst>
              <a:ext uri="{FF2B5EF4-FFF2-40B4-BE49-F238E27FC236}">
                <a16:creationId xmlns:a16="http://schemas.microsoft.com/office/drawing/2014/main" id="{14F60FC2-356C-6EBE-036A-126C6E7B6787}"/>
              </a:ext>
            </a:extLst>
          </p:cNvPr>
          <p:cNvSpPr txBox="1">
            <a:spLocks/>
          </p:cNvSpPr>
          <p:nvPr userDrawn="1"/>
        </p:nvSpPr>
        <p:spPr>
          <a:xfrm>
            <a:off x="662400" y="6740400"/>
            <a:ext cx="3888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endParaRPr lang="en-GB" altLang="en-GB" sz="1900"/>
          </a:p>
        </p:txBody>
      </p:sp>
    </p:spTree>
    <p:extLst>
      <p:ext uri="{BB962C8B-B14F-4D97-AF65-F5344CB8AC3E}">
        <p14:creationId xmlns:p14="http://schemas.microsoft.com/office/powerpoint/2010/main" val="25568846"/>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 id="2147483973" r:id="rId14"/>
    <p:sldLayoutId id="2147483974" r:id="rId15"/>
    <p:sldLayoutId id="2147483975" r:id="rId16"/>
    <p:sldLayoutId id="2147483976" r:id="rId17"/>
    <p:sldLayoutId id="2147483977" r:id="rId18"/>
    <p:sldLayoutId id="2147483978" r:id="rId19"/>
    <p:sldLayoutId id="2147483979" r:id="rId20"/>
    <p:sldLayoutId id="2147483980" r:id="rId21"/>
    <p:sldLayoutId id="2147483981" r:id="rId22"/>
    <p:sldLayoutId id="2147483982" r:id="rId23"/>
  </p:sldLayoutIdLst>
  <p:hf hdr="0"/>
  <p:txStyles>
    <p:titleStyle>
      <a:lvl1pPr algn="l" defTabSz="990564"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600" b="0" kern="1200">
          <a:solidFill>
            <a:schemeClr val="tx1"/>
          </a:solidFill>
          <a:latin typeface="+mn-lt"/>
          <a:ea typeface="+mn-ea"/>
          <a:cs typeface="+mn-cs"/>
        </a:defRPr>
      </a:lvl1pPr>
      <a:lvl2pPr marL="252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600" b="0" kern="1200" dirty="0" smtClean="0">
          <a:solidFill>
            <a:schemeClr val="tx1"/>
          </a:solidFill>
          <a:latin typeface="+mn-lt"/>
          <a:ea typeface="+mn-ea"/>
          <a:cs typeface="+mn-cs"/>
        </a:defRPr>
      </a:lvl2pPr>
      <a:lvl3pPr marL="504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600" b="0" kern="1200" dirty="0" smtClean="0">
          <a:solidFill>
            <a:schemeClr val="tx1"/>
          </a:solidFill>
          <a:latin typeface="+mn-lt"/>
          <a:ea typeface="+mn-ea"/>
          <a:cs typeface="+mn-cs"/>
        </a:defRPr>
      </a:lvl3pPr>
      <a:lvl4pPr marL="684000" marR="0" indent="-180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600" b="0" kern="1200" baseline="0" dirty="0" smtClean="0">
          <a:solidFill>
            <a:schemeClr val="tx1"/>
          </a:solidFill>
          <a:latin typeface="+mn-lt"/>
          <a:ea typeface="+mn-ea"/>
          <a:cs typeface="+mn-cs"/>
        </a:defRPr>
      </a:lvl4pPr>
      <a:lvl5pPr marL="936000" indent="-252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600" kern="1200" baseline="0" dirty="0" smtClean="0">
          <a:solidFill>
            <a:schemeClr val="tx1"/>
          </a:solidFill>
          <a:latin typeface="+mn-lt"/>
          <a:ea typeface="+mn-ea"/>
          <a:cs typeface="+mn-cs"/>
        </a:defRPr>
      </a:lvl5pPr>
      <a:lvl6pPr marL="1188000" indent="-252000" algn="l" defTabSz="990564"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880" userDrawn="1">
          <p15:clr>
            <a:srgbClr val="A4A3A4"/>
          </p15:clr>
        </p15:guide>
        <p15:guide id="1" orient="horz" pos="96" userDrawn="1">
          <p15:clr>
            <a:srgbClr val="A4A3A4"/>
          </p15:clr>
        </p15:guide>
        <p15:guide id="2" pos="2795" userDrawn="1">
          <p15:clr>
            <a:srgbClr val="A4A3A4"/>
          </p15:clr>
        </p15:guide>
        <p15:guide id="3" pos="2965" userDrawn="1">
          <p15:clr>
            <a:srgbClr val="A4A3A4"/>
          </p15:clr>
        </p15:guide>
        <p15:guide id="4" pos="5534" userDrawn="1">
          <p15:clr>
            <a:srgbClr val="A4A3A4"/>
          </p15:clr>
        </p15:guide>
        <p15:guide id="5" pos="227" userDrawn="1">
          <p15:clr>
            <a:srgbClr val="A4A3A4"/>
          </p15:clr>
        </p15:guide>
        <p15:guide id="6" orient="horz" pos="504" userDrawn="1">
          <p15:clr>
            <a:srgbClr val="A4A3A4"/>
          </p15:clr>
        </p15:guide>
        <p15:guide id="7" orient="horz" pos="640" userDrawn="1">
          <p15:clr>
            <a:srgbClr val="A4A3A4"/>
          </p15:clr>
        </p15:guide>
        <p15:guide id="8" orient="horz" pos="935" userDrawn="1">
          <p15:clr>
            <a:srgbClr val="A4A3A4"/>
          </p15:clr>
        </p15:guide>
        <p15:guide id="9" orient="horz" pos="3974" userDrawn="1">
          <p15:clr>
            <a:srgbClr val="A4A3A4"/>
          </p15:clr>
        </p15:guide>
        <p15:guide id="10" orient="horz" pos="4156" userDrawn="1">
          <p15:clr>
            <a:srgbClr val="A4A3A4"/>
          </p15:clr>
        </p15:guide>
        <p15:guide id="11" orient="horz" pos="4269" userDrawn="1">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86ACD3C-B1FD-4D8B-B85B-1B25921C344F}"/>
              </a:ext>
            </a:extLst>
          </p:cNvPr>
          <p:cNvGraphicFramePr>
            <a:graphicFrameLocks noChangeAspect="1"/>
          </p:cNvGraphicFramePr>
          <p:nvPr userDrawn="1">
            <p:custDataLst>
              <p:tags r:id="rId25"/>
            </p:custDataLst>
            <p:extLst>
              <p:ext uri="{D42A27DB-BD31-4B8C-83A1-F6EECF244321}">
                <p14:modId xmlns:p14="http://schemas.microsoft.com/office/powerpoint/2010/main" val="8694802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スライド" r:id="rId26" imgW="444" imgH="443" progId="TCLayout.ActiveDocument.1">
                  <p:embed/>
                </p:oleObj>
              </mc:Choice>
              <mc:Fallback>
                <p:oleObj name="think-cellスライド" r:id="rId26" imgW="444" imgH="443" progId="TCLayout.ActiveDocument.1">
                  <p:embed/>
                  <p:pic>
                    <p:nvPicPr>
                      <p:cNvPr id="4" name="オブジェクト 3" hidden="1">
                        <a:extLst>
                          <a:ext uri="{FF2B5EF4-FFF2-40B4-BE49-F238E27FC236}">
                            <a16:creationId xmlns:a16="http://schemas.microsoft.com/office/drawing/2014/main" id="{886ACD3C-B1FD-4D8B-B85B-1B25921C344F}"/>
                          </a:ext>
                        </a:extLst>
                      </p:cNvPr>
                      <p:cNvPicPr/>
                      <p:nvPr/>
                    </p:nvPicPr>
                    <p:blipFill>
                      <a:blip r:embed="rId27"/>
                      <a:stretch>
                        <a:fillRect/>
                      </a:stretch>
                    </p:blipFill>
                    <p:spPr>
                      <a:xfrm>
                        <a:off x="1191" y="1588"/>
                        <a:ext cx="1191" cy="1588"/>
                      </a:xfrm>
                      <a:prstGeom prst="rect">
                        <a:avLst/>
                      </a:prstGeom>
                    </p:spPr>
                  </p:pic>
                </p:oleObj>
              </mc:Fallback>
            </mc:AlternateContent>
          </a:graphicData>
        </a:graphic>
      </p:graphicFrame>
      <p:sp>
        <p:nvSpPr>
          <p:cNvPr id="2" name="Title Placeholder 1"/>
          <p:cNvSpPr>
            <a:spLocks noGrp="1"/>
          </p:cNvSpPr>
          <p:nvPr>
            <p:ph type="title"/>
          </p:nvPr>
        </p:nvSpPr>
        <p:spPr bwMode="gray">
          <a:xfrm>
            <a:off x="360000" y="108000"/>
            <a:ext cx="8424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548100" y="6588000"/>
            <a:ext cx="3888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360000" y="6588000"/>
            <a:ext cx="135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fld id="{AA5FCFE5-FE56-4EF1-80A8-07776887C2A1}" type="slidenum">
              <a:rPr lang="ja-JP" altLang="en-US" smtClean="0"/>
              <a:pPr/>
              <a:t>‹#›</a:t>
            </a:fld>
            <a:endParaRPr lang="ja-JP" altLang="en-US"/>
          </a:p>
        </p:txBody>
      </p:sp>
      <p:sp>
        <p:nvSpPr>
          <p:cNvPr id="15" name="Text Box 37"/>
          <p:cNvSpPr txBox="1">
            <a:spLocks noChangeArrowheads="1"/>
          </p:cNvSpPr>
          <p:nvPr/>
        </p:nvSpPr>
        <p:spPr bwMode="gray">
          <a:xfrm>
            <a:off x="4707000" y="6588000"/>
            <a:ext cx="4077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5. For information, contact Deloitte Tohmatsu Group.</a:t>
            </a:r>
          </a:p>
        </p:txBody>
      </p:sp>
      <p:sp>
        <p:nvSpPr>
          <p:cNvPr id="3" name="テキスト プレースホルダー 2"/>
          <p:cNvSpPr>
            <a:spLocks noGrp="1"/>
          </p:cNvSpPr>
          <p:nvPr>
            <p:ph type="body" idx="1"/>
          </p:nvPr>
        </p:nvSpPr>
        <p:spPr bwMode="gray">
          <a:xfrm>
            <a:off x="360000" y="1476000"/>
            <a:ext cx="8424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a:extLst>
              <a:ext uri="{FF2B5EF4-FFF2-40B4-BE49-F238E27FC236}">
                <a16:creationId xmlns:a16="http://schemas.microsoft.com/office/drawing/2014/main" id="{E0E64AB6-CEBE-4B69-BA95-262258503BE9}"/>
              </a:ext>
            </a:extLst>
          </p:cNvPr>
          <p:cNvSpPr>
            <a:spLocks noGrp="1"/>
          </p:cNvSpPr>
          <p:nvPr>
            <p:ph type="dt" sz="half" idx="2"/>
          </p:nvPr>
        </p:nvSpPr>
        <p:spPr bwMode="gray">
          <a:xfrm>
            <a:off x="4127167" y="6444001"/>
            <a:ext cx="889667"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a:extLst>
              <a:ext uri="{FF2B5EF4-FFF2-40B4-BE49-F238E27FC236}">
                <a16:creationId xmlns:a16="http://schemas.microsoft.com/office/drawing/2014/main" id="{14F60FC2-356C-6EBE-036A-126C6E7B6787}"/>
              </a:ext>
            </a:extLst>
          </p:cNvPr>
          <p:cNvSpPr txBox="1">
            <a:spLocks/>
          </p:cNvSpPr>
          <p:nvPr userDrawn="1"/>
        </p:nvSpPr>
        <p:spPr>
          <a:xfrm>
            <a:off x="662400" y="6740400"/>
            <a:ext cx="3888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endParaRPr lang="en-GB" altLang="en-GB" sz="1900"/>
          </a:p>
        </p:txBody>
      </p:sp>
    </p:spTree>
    <p:extLst>
      <p:ext uri="{BB962C8B-B14F-4D97-AF65-F5344CB8AC3E}">
        <p14:creationId xmlns:p14="http://schemas.microsoft.com/office/powerpoint/2010/main" val="1767087048"/>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 id="2147484011" r:id="rId14"/>
    <p:sldLayoutId id="2147484012" r:id="rId15"/>
    <p:sldLayoutId id="2147484013" r:id="rId16"/>
    <p:sldLayoutId id="2147484014" r:id="rId17"/>
    <p:sldLayoutId id="2147484015" r:id="rId18"/>
    <p:sldLayoutId id="2147484016" r:id="rId19"/>
    <p:sldLayoutId id="2147484017" r:id="rId20"/>
    <p:sldLayoutId id="2147484018" r:id="rId21"/>
    <p:sldLayoutId id="2147484019" r:id="rId22"/>
    <p:sldLayoutId id="2147484020" r:id="rId23"/>
  </p:sldLayoutIdLst>
  <p:hf hdr="0"/>
  <p:txStyles>
    <p:titleStyle>
      <a:lvl1pPr algn="l" defTabSz="990564"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600" b="0" kern="1200">
          <a:solidFill>
            <a:schemeClr val="tx1"/>
          </a:solidFill>
          <a:latin typeface="+mn-lt"/>
          <a:ea typeface="+mn-ea"/>
          <a:cs typeface="+mn-cs"/>
        </a:defRPr>
      </a:lvl1pPr>
      <a:lvl2pPr marL="252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600" b="0" kern="1200" dirty="0" smtClean="0">
          <a:solidFill>
            <a:schemeClr val="tx1"/>
          </a:solidFill>
          <a:latin typeface="+mn-lt"/>
          <a:ea typeface="+mn-ea"/>
          <a:cs typeface="+mn-cs"/>
        </a:defRPr>
      </a:lvl2pPr>
      <a:lvl3pPr marL="504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600" b="0" kern="1200" dirty="0" smtClean="0">
          <a:solidFill>
            <a:schemeClr val="tx1"/>
          </a:solidFill>
          <a:latin typeface="+mn-lt"/>
          <a:ea typeface="+mn-ea"/>
          <a:cs typeface="+mn-cs"/>
        </a:defRPr>
      </a:lvl3pPr>
      <a:lvl4pPr marL="684000" marR="0" indent="-180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600" b="0" kern="1200" baseline="0" dirty="0" smtClean="0">
          <a:solidFill>
            <a:schemeClr val="tx1"/>
          </a:solidFill>
          <a:latin typeface="+mn-lt"/>
          <a:ea typeface="+mn-ea"/>
          <a:cs typeface="+mn-cs"/>
        </a:defRPr>
      </a:lvl4pPr>
      <a:lvl5pPr marL="936000" indent="-252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600" kern="1200" baseline="0" dirty="0" smtClean="0">
          <a:solidFill>
            <a:schemeClr val="tx1"/>
          </a:solidFill>
          <a:latin typeface="+mn-lt"/>
          <a:ea typeface="+mn-ea"/>
          <a:cs typeface="+mn-cs"/>
        </a:defRPr>
      </a:lvl5pPr>
      <a:lvl6pPr marL="1188000" indent="-252000" algn="l" defTabSz="990564"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880" userDrawn="1">
          <p15:clr>
            <a:srgbClr val="A4A3A4"/>
          </p15:clr>
        </p15:guide>
        <p15:guide id="1" orient="horz" pos="96" userDrawn="1">
          <p15:clr>
            <a:srgbClr val="A4A3A4"/>
          </p15:clr>
        </p15:guide>
        <p15:guide id="2" pos="2795" userDrawn="1">
          <p15:clr>
            <a:srgbClr val="A4A3A4"/>
          </p15:clr>
        </p15:guide>
        <p15:guide id="3" pos="2965" userDrawn="1">
          <p15:clr>
            <a:srgbClr val="A4A3A4"/>
          </p15:clr>
        </p15:guide>
        <p15:guide id="4" pos="5534" userDrawn="1">
          <p15:clr>
            <a:srgbClr val="A4A3A4"/>
          </p15:clr>
        </p15:guide>
        <p15:guide id="5" pos="227" userDrawn="1">
          <p15:clr>
            <a:srgbClr val="A4A3A4"/>
          </p15:clr>
        </p15:guide>
        <p15:guide id="6" orient="horz" pos="504" userDrawn="1">
          <p15:clr>
            <a:srgbClr val="A4A3A4"/>
          </p15:clr>
        </p15:guide>
        <p15:guide id="7" orient="horz" pos="640" userDrawn="1">
          <p15:clr>
            <a:srgbClr val="A4A3A4"/>
          </p15:clr>
        </p15:guide>
        <p15:guide id="8" orient="horz" pos="935" userDrawn="1">
          <p15:clr>
            <a:srgbClr val="A4A3A4"/>
          </p15:clr>
        </p15:guide>
        <p15:guide id="9" orient="horz" pos="3974" userDrawn="1">
          <p15:clr>
            <a:srgbClr val="A4A3A4"/>
          </p15:clr>
        </p15:guide>
        <p15:guide id="10" orient="horz" pos="4156" userDrawn="1">
          <p15:clr>
            <a:srgbClr val="A4A3A4"/>
          </p15:clr>
        </p15:guide>
        <p15:guide id="11" orient="horz" pos="4269" userDrawn="1">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7C52781-F646-D1DA-8930-E4DCCBCE90AD}"/>
              </a:ext>
            </a:extLst>
          </p:cNvPr>
          <p:cNvGraphicFramePr>
            <a:graphicFrameLocks noChangeAspect="1"/>
          </p:cNvGraphicFramePr>
          <p:nvPr userDrawn="1">
            <p:custDataLst>
              <p:tags r:id="rId11"/>
            </p:custDataLst>
            <p:extLst>
              <p:ext uri="{D42A27DB-BD31-4B8C-83A1-F6EECF244321}">
                <p14:modId xmlns:p14="http://schemas.microsoft.com/office/powerpoint/2010/main" val="1425027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2" imgW="639" imgH="639" progId="TCLayout.ActiveDocument.1">
                  <p:embed/>
                </p:oleObj>
              </mc:Choice>
              <mc:Fallback>
                <p:oleObj name="think-cellスライド" r:id="rId12" imgW="639" imgH="639" progId="TCLayout.ActiveDocument.1">
                  <p:embed/>
                  <p:pic>
                    <p:nvPicPr>
                      <p:cNvPr id="8" name="think-cell data - do not delete" hidden="1">
                        <a:extLst>
                          <a:ext uri="{FF2B5EF4-FFF2-40B4-BE49-F238E27FC236}">
                            <a16:creationId xmlns:a16="http://schemas.microsoft.com/office/drawing/2014/main" id="{97C52781-F646-D1DA-8930-E4DCCBCE90A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AF1CE2-0C15-4736-9FD0-B2D7AF18DDB7}" type="datetime1">
              <a:rPr kumimoji="1" lang="ja-JP" altLang="en-US" smtClean="0"/>
              <a:t>2025/7/11</a:t>
            </a:fld>
            <a:endParaRPr kumimoji="1" lang="ja-JP" altLang="en-US"/>
          </a:p>
        </p:txBody>
      </p:sp>
      <p:sp>
        <p:nvSpPr>
          <p:cNvPr id="5" name="フッター プレースホルダー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8139188-682B-46B8-8E3A-C32D863D2EEC}" type="slidenum">
              <a:rPr kumimoji="1" lang="ja-JP" altLang="en-US" smtClean="0"/>
              <a:t>‹#›</a:t>
            </a:fld>
            <a:endParaRPr kumimoji="1" lang="ja-JP" altLang="en-US"/>
          </a:p>
        </p:txBody>
      </p:sp>
    </p:spTree>
    <p:extLst>
      <p:ext uri="{BB962C8B-B14F-4D97-AF65-F5344CB8AC3E}">
        <p14:creationId xmlns:p14="http://schemas.microsoft.com/office/powerpoint/2010/main" val="168384521"/>
      </p:ext>
    </p:extLst>
  </p:cSld>
  <p:clrMap bg1="lt1" tx1="dk1" bg2="lt2" tx2="dk2" accent1="accent1" accent2="accent2" accent3="accent3" accent4="accent4" accent5="accent5" accent6="accent6" hlink="hlink" folHlink="folHlink"/>
  <p:sldLayoutIdLst>
    <p:sldLayoutId id="2147484022" r:id="rId1"/>
    <p:sldLayoutId id="2147484023" r:id="rId2"/>
    <p:sldLayoutId id="2147484024" r:id="rId3"/>
    <p:sldLayoutId id="2147484025" r:id="rId4"/>
    <p:sldLayoutId id="2147484026" r:id="rId5"/>
    <p:sldLayoutId id="2147484027" r:id="rId6"/>
    <p:sldLayoutId id="2147484028" r:id="rId7"/>
    <p:sldLayoutId id="2147484029" r:id="rId8"/>
    <p:sldLayoutId id="2147484030" r:id="rId9"/>
  </p:sldLayoutIdLst>
  <p:hf hdr="0" ft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8.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75.xml"/><Relationship Id="rId1" Type="http://schemas.openxmlformats.org/officeDocument/2006/relationships/tags" Target="../tags/tag81.xml"/><Relationship Id="rId4" Type="http://schemas.openxmlformats.org/officeDocument/2006/relationships/image" Target="../media/image15.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75.xml"/><Relationship Id="rId1" Type="http://schemas.openxmlformats.org/officeDocument/2006/relationships/tags" Target="../tags/tag82.xml"/><Relationship Id="rId4" Type="http://schemas.openxmlformats.org/officeDocument/2006/relationships/image" Target="../media/image15.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75.xml"/><Relationship Id="rId1" Type="http://schemas.openxmlformats.org/officeDocument/2006/relationships/tags" Target="../tags/tag83.xml"/><Relationship Id="rId4" Type="http://schemas.openxmlformats.org/officeDocument/2006/relationships/image" Target="../media/image15.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75.xml"/><Relationship Id="rId1" Type="http://schemas.openxmlformats.org/officeDocument/2006/relationships/tags" Target="../tags/tag84.xml"/><Relationship Id="rId4" Type="http://schemas.openxmlformats.org/officeDocument/2006/relationships/image" Target="../media/image15.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75.xml"/><Relationship Id="rId1" Type="http://schemas.openxmlformats.org/officeDocument/2006/relationships/tags" Target="../tags/tag85.xml"/><Relationship Id="rId4" Type="http://schemas.openxmlformats.org/officeDocument/2006/relationships/image" Target="../media/image15.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75.xml"/><Relationship Id="rId1" Type="http://schemas.openxmlformats.org/officeDocument/2006/relationships/tags" Target="../tags/tag86.xml"/><Relationship Id="rId4" Type="http://schemas.openxmlformats.org/officeDocument/2006/relationships/image" Target="../media/image15.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75.xml"/><Relationship Id="rId1" Type="http://schemas.openxmlformats.org/officeDocument/2006/relationships/tags" Target="../tags/tag87.xml"/><Relationship Id="rId4" Type="http://schemas.openxmlformats.org/officeDocument/2006/relationships/image" Target="../media/image15.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75.xml"/><Relationship Id="rId1" Type="http://schemas.openxmlformats.org/officeDocument/2006/relationships/tags" Target="../tags/tag88.xml"/><Relationship Id="rId5" Type="http://schemas.openxmlformats.org/officeDocument/2006/relationships/hyperlink" Target="https://mchcgr.sharepoint.com/:x:/r/sites/MCG-Site-NotesAPPJ_JointProposal/DTC/RO_%E6%88%90%E6%9E%9C%E7%89%A9/D_SSK%20RFP%E6%9C%AC%E7%B4%99%E3%80%81%E5%88%A5%E7%B4%99/%E3%80%90%E6%96%B0%E3%82%A2%E3%83%97%E3%83%AA%E3%80%91%E6%A9%9F%E8%83%BD%E8%A6%81%E4%BB%B6%E4%B8%80%E8%A6%A7%20V1.1.xlsx?d=we4e791bb41c142a595e4e409ecb65d09&amp;csf=1&amp;web=1&amp;e=H9RMbX" TargetMode="External"/><Relationship Id="rId4" Type="http://schemas.openxmlformats.org/officeDocument/2006/relationships/image" Target="../media/image22.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75.xml"/><Relationship Id="rId1" Type="http://schemas.openxmlformats.org/officeDocument/2006/relationships/tags" Target="../tags/tag89.xml"/><Relationship Id="rId4" Type="http://schemas.openxmlformats.org/officeDocument/2006/relationships/image" Target="../media/image22.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75.xml"/><Relationship Id="rId1" Type="http://schemas.openxmlformats.org/officeDocument/2006/relationships/tags" Target="../tags/tag90.xml"/><Relationship Id="rId4" Type="http://schemas.openxmlformats.org/officeDocument/2006/relationships/image" Target="../media/image2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75.xml"/><Relationship Id="rId1" Type="http://schemas.openxmlformats.org/officeDocument/2006/relationships/tags" Target="../tags/tag73.xml"/><Relationship Id="rId4" Type="http://schemas.openxmlformats.org/officeDocument/2006/relationships/image" Target="../media/image15.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75.xml"/><Relationship Id="rId1" Type="http://schemas.openxmlformats.org/officeDocument/2006/relationships/tags" Target="../tags/tag91.xml"/><Relationship Id="rId5" Type="http://schemas.openxmlformats.org/officeDocument/2006/relationships/image" Target="../media/image23.png"/><Relationship Id="rId4" Type="http://schemas.openxmlformats.org/officeDocument/2006/relationships/image" Target="../media/image22.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77.bin"/><Relationship Id="rId7" Type="http://schemas.openxmlformats.org/officeDocument/2006/relationships/image" Target="../media/image26.png"/><Relationship Id="rId2" Type="http://schemas.openxmlformats.org/officeDocument/2006/relationships/slideLayout" Target="../slideLayouts/slideLayout75.xml"/><Relationship Id="rId1" Type="http://schemas.openxmlformats.org/officeDocument/2006/relationships/tags" Target="../tags/tag9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2.emf"/></Relationships>
</file>

<file path=ppt/slides/_rels/slide2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oleObject" Target="../embeddings/oleObject78.bin"/><Relationship Id="rId7" Type="http://schemas.openxmlformats.org/officeDocument/2006/relationships/image" Target="../media/image29.png"/><Relationship Id="rId2" Type="http://schemas.openxmlformats.org/officeDocument/2006/relationships/slideLayout" Target="../slideLayouts/slideLayout75.xml"/><Relationship Id="rId1" Type="http://schemas.openxmlformats.org/officeDocument/2006/relationships/tags" Target="../tags/tag9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2.emf"/><Relationship Id="rId9" Type="http://schemas.openxmlformats.org/officeDocument/2006/relationships/image" Target="../media/image31.png"/></Relationships>
</file>

<file path=ppt/slides/_rels/slide2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oleObject" Target="../embeddings/oleObject79.bin"/><Relationship Id="rId7" Type="http://schemas.openxmlformats.org/officeDocument/2006/relationships/image" Target="../media/image31.png"/><Relationship Id="rId2" Type="http://schemas.openxmlformats.org/officeDocument/2006/relationships/slideLayout" Target="../slideLayouts/slideLayout75.xml"/><Relationship Id="rId1" Type="http://schemas.openxmlformats.org/officeDocument/2006/relationships/tags" Target="../tags/tag94.xml"/><Relationship Id="rId6" Type="http://schemas.openxmlformats.org/officeDocument/2006/relationships/image" Target="../media/image30.png"/><Relationship Id="rId5" Type="http://schemas.openxmlformats.org/officeDocument/2006/relationships/image" Target="../media/image32.png"/><Relationship Id="rId10" Type="http://schemas.openxmlformats.org/officeDocument/2006/relationships/image" Target="../media/image35.png"/><Relationship Id="rId4" Type="http://schemas.openxmlformats.org/officeDocument/2006/relationships/image" Target="../media/image22.emf"/><Relationship Id="rId9" Type="http://schemas.openxmlformats.org/officeDocument/2006/relationships/image" Target="../media/image34.png"/></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Layout" Target="../slideLayouts/slideLayout75.xml"/><Relationship Id="rId1" Type="http://schemas.openxmlformats.org/officeDocument/2006/relationships/tags" Target="../tags/tag95.xml"/><Relationship Id="rId5" Type="http://schemas.openxmlformats.org/officeDocument/2006/relationships/image" Target="../media/image36.png"/><Relationship Id="rId4" Type="http://schemas.openxmlformats.org/officeDocument/2006/relationships/image" Target="../media/image22.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Layout" Target="../slideLayouts/slideLayout75.xml"/><Relationship Id="rId1" Type="http://schemas.openxmlformats.org/officeDocument/2006/relationships/tags" Target="../tags/tag96.xml"/><Relationship Id="rId5" Type="http://schemas.openxmlformats.org/officeDocument/2006/relationships/image" Target="../media/image37.png"/><Relationship Id="rId4" Type="http://schemas.openxmlformats.org/officeDocument/2006/relationships/image" Target="../media/image22.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75.xml"/><Relationship Id="rId1" Type="http://schemas.openxmlformats.org/officeDocument/2006/relationships/tags" Target="../tags/tag97.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22.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Layout" Target="../slideLayouts/slideLayout75.xml"/><Relationship Id="rId1" Type="http://schemas.openxmlformats.org/officeDocument/2006/relationships/tags" Target="../tags/tag98.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22.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75.xml"/><Relationship Id="rId1" Type="http://schemas.openxmlformats.org/officeDocument/2006/relationships/tags" Target="../tags/tag99.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22.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85.bin"/><Relationship Id="rId7" Type="http://schemas.openxmlformats.org/officeDocument/2006/relationships/image" Target="../media/image46.png"/><Relationship Id="rId2" Type="http://schemas.openxmlformats.org/officeDocument/2006/relationships/slideLayout" Target="../slideLayouts/slideLayout75.xml"/><Relationship Id="rId1" Type="http://schemas.openxmlformats.org/officeDocument/2006/relationships/tags" Target="../tags/tag100.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22.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75.xml"/><Relationship Id="rId1" Type="http://schemas.openxmlformats.org/officeDocument/2006/relationships/tags" Target="../tags/tag74.xml"/><Relationship Id="rId4" Type="http://schemas.openxmlformats.org/officeDocument/2006/relationships/image" Target="../media/image15.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Layout" Target="../slideLayouts/slideLayout75.xml"/><Relationship Id="rId1" Type="http://schemas.openxmlformats.org/officeDocument/2006/relationships/tags" Target="../tags/tag101.xml"/><Relationship Id="rId5" Type="http://schemas.openxmlformats.org/officeDocument/2006/relationships/image" Target="../media/image47.png"/><Relationship Id="rId4" Type="http://schemas.openxmlformats.org/officeDocument/2006/relationships/image" Target="../media/image22.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75.xml"/><Relationship Id="rId1" Type="http://schemas.openxmlformats.org/officeDocument/2006/relationships/tags" Target="../tags/tag102.xml"/><Relationship Id="rId5" Type="http://schemas.openxmlformats.org/officeDocument/2006/relationships/image" Target="../media/image48.png"/><Relationship Id="rId4" Type="http://schemas.openxmlformats.org/officeDocument/2006/relationships/image" Target="../media/image22.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75.xml"/><Relationship Id="rId1" Type="http://schemas.openxmlformats.org/officeDocument/2006/relationships/tags" Target="../tags/tag103.xml"/><Relationship Id="rId5" Type="http://schemas.openxmlformats.org/officeDocument/2006/relationships/image" Target="../media/image49.png"/><Relationship Id="rId4" Type="http://schemas.openxmlformats.org/officeDocument/2006/relationships/image" Target="../media/image22.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75.xml"/><Relationship Id="rId1" Type="http://schemas.openxmlformats.org/officeDocument/2006/relationships/tags" Target="../tags/tag104.xml"/><Relationship Id="rId5" Type="http://schemas.openxmlformats.org/officeDocument/2006/relationships/image" Target="../media/image50.png"/><Relationship Id="rId4" Type="http://schemas.openxmlformats.org/officeDocument/2006/relationships/image" Target="../media/image22.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90.bin"/><Relationship Id="rId7" Type="http://schemas.openxmlformats.org/officeDocument/2006/relationships/image" Target="../media/image53.png"/><Relationship Id="rId2" Type="http://schemas.openxmlformats.org/officeDocument/2006/relationships/slideLayout" Target="../slideLayouts/slideLayout75.xml"/><Relationship Id="rId1" Type="http://schemas.openxmlformats.org/officeDocument/2006/relationships/tags" Target="../tags/tag105.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22.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Layout" Target="../slideLayouts/slideLayout75.xml"/><Relationship Id="rId1" Type="http://schemas.openxmlformats.org/officeDocument/2006/relationships/tags" Target="../tags/tag106.xml"/><Relationship Id="rId5" Type="http://schemas.openxmlformats.org/officeDocument/2006/relationships/image" Target="../media/image54.png"/><Relationship Id="rId4" Type="http://schemas.openxmlformats.org/officeDocument/2006/relationships/image" Target="../media/image22.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75.xml"/><Relationship Id="rId1" Type="http://schemas.openxmlformats.org/officeDocument/2006/relationships/tags" Target="../tags/tag107.xml"/><Relationship Id="rId5" Type="http://schemas.openxmlformats.org/officeDocument/2006/relationships/image" Target="../media/image55.png"/><Relationship Id="rId4" Type="http://schemas.openxmlformats.org/officeDocument/2006/relationships/image" Target="../media/image22.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75.xml"/><Relationship Id="rId1" Type="http://schemas.openxmlformats.org/officeDocument/2006/relationships/tags" Target="../tags/tag108.xml"/><Relationship Id="rId5" Type="http://schemas.openxmlformats.org/officeDocument/2006/relationships/image" Target="../media/image56.png"/><Relationship Id="rId4" Type="http://schemas.openxmlformats.org/officeDocument/2006/relationships/image" Target="../media/image22.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Layout" Target="../slideLayouts/slideLayout75.xml"/><Relationship Id="rId1" Type="http://schemas.openxmlformats.org/officeDocument/2006/relationships/tags" Target="../tags/tag109.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22.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Layout" Target="../slideLayouts/slideLayout75.xml"/><Relationship Id="rId1" Type="http://schemas.openxmlformats.org/officeDocument/2006/relationships/tags" Target="../tags/tag110.xml"/><Relationship Id="rId5" Type="http://schemas.openxmlformats.org/officeDocument/2006/relationships/hyperlink" Target="https://mchcgr.sharepoint.com/:x:/r/sites/MCG-Site-NotesAPPJ_JointProposal/DTC/RO_%E6%88%90%E6%9E%9C%E7%89%A9/D_SSK%20RFP%E6%9C%AC%E7%B4%99%E3%80%81%E5%88%A5%E7%B4%99/%E3%80%90%E6%96%B0%E3%82%A2%E3%83%97%E3%83%AA%E3%80%91%E5%85%A5%E5%8A%9B%E9%A0%85%E7%9B%AE%E4%B8%80%E8%A6%A7.xlsx?d=wc3b2cad50f264040b7f423ee97fb6871&amp;csf=1&amp;web=1&amp;e=ZWiKLU" TargetMode="External"/><Relationship Id="rId4" Type="http://schemas.openxmlformats.org/officeDocument/2006/relationships/image" Target="../media/image22.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75.xml"/><Relationship Id="rId1" Type="http://schemas.openxmlformats.org/officeDocument/2006/relationships/tags" Target="../tags/tag75.xml"/><Relationship Id="rId4" Type="http://schemas.openxmlformats.org/officeDocument/2006/relationships/image" Target="../media/image15.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Layout" Target="../slideLayouts/slideLayout75.xml"/><Relationship Id="rId1" Type="http://schemas.openxmlformats.org/officeDocument/2006/relationships/tags" Target="../tags/tag111.xml"/><Relationship Id="rId5" Type="http://schemas.openxmlformats.org/officeDocument/2006/relationships/hyperlink" Target="https://mchcgr.sharepoint.com/:x:/r/sites/MCG-Site-NotesAPPJ_JointProposal/DTC/RO_%E6%88%90%E6%9E%9C%E7%89%A9/D_SSK%20RFP%E6%9C%AC%E7%B4%99%E3%80%81%E5%88%A5%E7%B4%99/%E8%A3%BD%E5%93%81%E4%BB%95%E6%A7%98%E6%9B%B8%E7%AE%A1%E7%90%86_DB%E3%83%87%E3%83%BC%E3%82%BF%E4%B8%80%E8%A6%A7.xlsx?d=we0adf319de064c0685c7905d033133fb&amp;csf=1&amp;web=1&amp;e=sTAQBn" TargetMode="External"/><Relationship Id="rId4" Type="http://schemas.openxmlformats.org/officeDocument/2006/relationships/image" Target="../media/image22.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Layout" Target="../slideLayouts/slideLayout75.xml"/><Relationship Id="rId1" Type="http://schemas.openxmlformats.org/officeDocument/2006/relationships/tags" Target="../tags/tag112.xml"/><Relationship Id="rId4" Type="http://schemas.openxmlformats.org/officeDocument/2006/relationships/image" Target="../media/image22.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Layout" Target="../slideLayouts/slideLayout75.xml"/><Relationship Id="rId1" Type="http://schemas.openxmlformats.org/officeDocument/2006/relationships/tags" Target="../tags/tag113.xml"/><Relationship Id="rId5" Type="http://schemas.openxmlformats.org/officeDocument/2006/relationships/hyperlink" Target="https://mchcgr.sharepoint.com/:x:/r/sites/MCG-Site-NotesAPPJ_JointProposal/DTC/RO_%E6%88%90%E6%9E%9C%E7%89%A9/D_SSK%20RFP%E6%9C%AC%E7%B4%99%E3%80%81%E5%88%A5%E7%B4%99/%E8%A3%BD%E5%93%81%E4%BB%95%E6%A7%98%E6%9B%B8%E7%AE%A1%E7%90%86_%E3%83%88%E3%83%A9%E3%83%B3%E3%82%B6%E3%82%AF%E3%82%B7%E3%83%A7%E3%83%B3%E3%83%87%E3%83%BC%E3%82%BF%E4%B8%80%E8%A6%A7.xlsx?d=w36627163bacc43389d1c5871ce784824&amp;csf=1&amp;web=1&amp;e=fZpOiU" TargetMode="External"/><Relationship Id="rId4" Type="http://schemas.openxmlformats.org/officeDocument/2006/relationships/image" Target="../media/image22.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75.xml"/><Relationship Id="rId1" Type="http://schemas.openxmlformats.org/officeDocument/2006/relationships/tags" Target="../tags/tag114.xml"/><Relationship Id="rId4" Type="http://schemas.openxmlformats.org/officeDocument/2006/relationships/image" Target="../media/image22.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75.xml"/><Relationship Id="rId1" Type="http://schemas.openxmlformats.org/officeDocument/2006/relationships/tags" Target="../tags/tag115.xml"/><Relationship Id="rId4" Type="http://schemas.openxmlformats.org/officeDocument/2006/relationships/image" Target="../media/image15.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Layout" Target="../slideLayouts/slideLayout75.xml"/><Relationship Id="rId1" Type="http://schemas.openxmlformats.org/officeDocument/2006/relationships/tags" Target="../tags/tag116.xml"/><Relationship Id="rId4" Type="http://schemas.openxmlformats.org/officeDocument/2006/relationships/image" Target="../media/image15.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Layout" Target="../slideLayouts/slideLayout75.xml"/><Relationship Id="rId1" Type="http://schemas.openxmlformats.org/officeDocument/2006/relationships/tags" Target="../tags/tag117.xml"/><Relationship Id="rId4" Type="http://schemas.openxmlformats.org/officeDocument/2006/relationships/image" Target="../media/image22.emf"/></Relationships>
</file>

<file path=ppt/slides/_rels/slide47.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package" Target="../embeddings/Microsoft_Excel_Worksheet_A3DB20DC.xlsx"/><Relationship Id="rId1" Type="http://schemas.openxmlformats.org/officeDocument/2006/relationships/slideLayout" Target="../slideLayouts/slideLayout7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75.xml"/><Relationship Id="rId1" Type="http://schemas.openxmlformats.org/officeDocument/2006/relationships/tags" Target="../tags/tag76.xml"/><Relationship Id="rId4" Type="http://schemas.openxmlformats.org/officeDocument/2006/relationships/image" Target="../media/image15.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75.xml"/><Relationship Id="rId1" Type="http://schemas.openxmlformats.org/officeDocument/2006/relationships/tags" Target="../tags/tag77.xml"/><Relationship Id="rId4" Type="http://schemas.openxmlformats.org/officeDocument/2006/relationships/image" Target="../media/image15.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75.xml"/><Relationship Id="rId1" Type="http://schemas.openxmlformats.org/officeDocument/2006/relationships/tags" Target="../tags/tag78.xml"/><Relationship Id="rId4" Type="http://schemas.openxmlformats.org/officeDocument/2006/relationships/image" Target="../media/image15.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75.xml"/><Relationship Id="rId1" Type="http://schemas.openxmlformats.org/officeDocument/2006/relationships/tags" Target="../tags/tag79.xml"/><Relationship Id="rId4" Type="http://schemas.openxmlformats.org/officeDocument/2006/relationships/image" Target="../media/image15.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75.xml"/><Relationship Id="rId1" Type="http://schemas.openxmlformats.org/officeDocument/2006/relationships/tags" Target="../tags/tag80.xml"/><Relationship Id="rId4" Type="http://schemas.openxmlformats.org/officeDocument/2006/relationships/image" Target="../media/image1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2">
            <a:extLst>
              <a:ext uri="{FF2B5EF4-FFF2-40B4-BE49-F238E27FC236}">
                <a16:creationId xmlns:a16="http://schemas.microsoft.com/office/drawing/2014/main" id="{E463306C-318F-AFE8-C603-FA1CF0EF24F0}"/>
              </a:ext>
            </a:extLst>
          </p:cNvPr>
          <p:cNvSpPr txBox="1">
            <a:spLocks/>
          </p:cNvSpPr>
          <p:nvPr/>
        </p:nvSpPr>
        <p:spPr>
          <a:xfrm>
            <a:off x="2139519" y="2352848"/>
            <a:ext cx="5160837" cy="1512168"/>
          </a:xfrm>
          <a:prstGeom prst="rect">
            <a:avLst/>
          </a:prstGeom>
          <a:noFill/>
        </p:spPr>
        <p:txBody>
          <a:bodyPr vert="horz" wrap="square" lIns="0" tIns="0" rIns="0" bIns="0" rtlCol="0" anchor="t">
            <a:normAutofit/>
          </a:bodyPr>
          <a:lstStyle>
            <a:lvl1pPr algn="l" defTabSz="914400" rtl="0" eaLnBrk="1" latinLnBrk="0" hangingPunct="1">
              <a:lnSpc>
                <a:spcPct val="95000"/>
              </a:lnSpc>
              <a:spcBef>
                <a:spcPct val="0"/>
              </a:spcBef>
              <a:buNone/>
              <a:defRPr kumimoji="1" sz="4200" b="1" i="0" kern="1200" spc="-100" baseline="0">
                <a:solidFill>
                  <a:schemeClr val="tx1"/>
                </a:solidFill>
                <a:latin typeface="+mj-lt"/>
                <a:ea typeface="+mj-ea"/>
                <a:cs typeface="Meiryo" charset="-128"/>
              </a:defRPr>
            </a:lvl1pPr>
          </a:lstStyle>
          <a:p>
            <a:pPr algn="ctr"/>
            <a:r>
              <a:rPr lang="ja-JP" altLang="en-US" sz="3150"/>
              <a:t>（別紙）製品仕様書管理</a:t>
            </a:r>
            <a:br>
              <a:rPr lang="en-US" altLang="ja-JP" sz="3150"/>
            </a:br>
            <a:r>
              <a:rPr lang="ja-JP" altLang="en-US" sz="3150"/>
              <a:t>業務・機能・非機能要件一覧</a:t>
            </a:r>
            <a:endParaRPr lang="ja-JP" altLang="en-US" sz="3150">
              <a:solidFill>
                <a:srgbClr val="FF0000"/>
              </a:solidFill>
            </a:endParaRPr>
          </a:p>
        </p:txBody>
      </p:sp>
      <p:sp>
        <p:nvSpPr>
          <p:cNvPr id="13" name="字幕 3">
            <a:extLst>
              <a:ext uri="{FF2B5EF4-FFF2-40B4-BE49-F238E27FC236}">
                <a16:creationId xmlns:a16="http://schemas.microsoft.com/office/drawing/2014/main" id="{754FBCAA-A114-8A96-47B3-9AB10E92A7C3}"/>
              </a:ext>
            </a:extLst>
          </p:cNvPr>
          <p:cNvSpPr txBox="1">
            <a:spLocks/>
          </p:cNvSpPr>
          <p:nvPr/>
        </p:nvSpPr>
        <p:spPr>
          <a:xfrm>
            <a:off x="2376996" y="3517460"/>
            <a:ext cx="4627485" cy="1314450"/>
          </a:xfrm>
          <a:prstGeom prst="rect">
            <a:avLst/>
          </a:prstGeom>
        </p:spPr>
        <p:txBody>
          <a:bodyPr/>
          <a:lstStyle>
            <a:lvl1pPr marL="285750" indent="-285750" algn="l" defTabSz="914400" rtl="0" eaLnBrk="1" latinLnBrk="0" hangingPunct="1">
              <a:lnSpc>
                <a:spcPct val="100000"/>
              </a:lnSpc>
              <a:spcBef>
                <a:spcPts val="1000"/>
              </a:spcBef>
              <a:buFont typeface="Arial" panose="020B0604020202020204" pitchFamily="34" charset="0"/>
              <a:buChar char="•"/>
              <a:defRPr kumimoji="1" sz="1600" kern="1200" baseline="0">
                <a:solidFill>
                  <a:schemeClr val="tx1"/>
                </a:solidFill>
                <a:latin typeface="+mn-lt"/>
                <a:ea typeface="+mn-ea"/>
                <a:cs typeface="+mn-cs"/>
              </a:defRPr>
            </a:lvl1pPr>
            <a:lvl2pPr marL="64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100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3pPr>
            <a:lvl4pPr marL="136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4pPr>
            <a:lvl5pPr marL="172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buNone/>
            </a:pPr>
            <a:r>
              <a:rPr lang="en-US" altLang="ja-JP" sz="2100"/>
              <a:t>2025</a:t>
            </a:r>
            <a:r>
              <a:rPr lang="ja-JP" altLang="en-US" sz="2100"/>
              <a:t>年</a:t>
            </a:r>
            <a:r>
              <a:rPr lang="en-US" altLang="ja-JP" sz="2100"/>
              <a:t>7</a:t>
            </a:r>
            <a:r>
              <a:rPr lang="ja-JP" altLang="en-US" sz="2100"/>
              <a:t>月</a:t>
            </a:r>
            <a:r>
              <a:rPr lang="en-US" altLang="ja-JP" sz="2100"/>
              <a:t>7</a:t>
            </a:r>
            <a:r>
              <a:rPr lang="ja-JP" altLang="en-US" sz="2100"/>
              <a:t>日</a:t>
            </a:r>
            <a:endParaRPr lang="en-US" altLang="ja-JP" sz="2100"/>
          </a:p>
          <a:p>
            <a:pPr marL="0" indent="0" algn="ctr">
              <a:buNone/>
            </a:pPr>
            <a:r>
              <a:rPr lang="ja-JP" altLang="en-US" sz="2100"/>
              <a:t>三菱ケミカル（株）　デジタル統括本部</a:t>
            </a:r>
          </a:p>
        </p:txBody>
      </p:sp>
    </p:spTree>
    <p:extLst>
      <p:ext uri="{BB962C8B-B14F-4D97-AF65-F5344CB8AC3E}">
        <p14:creationId xmlns:p14="http://schemas.microsoft.com/office/powerpoint/2010/main" val="36659349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A976F1A-1F23-8E7A-9FE8-516548FD8E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5" name="think-cell data - do not delete" hidden="1">
                        <a:extLst>
                          <a:ext uri="{FF2B5EF4-FFF2-40B4-BE49-F238E27FC236}">
                            <a16:creationId xmlns:a16="http://schemas.microsoft.com/office/drawing/2014/main" id="{BA976F1A-1F23-8E7A-9FE8-516548FD8E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DEF3795D-40A6-30F0-9738-4A6C978F90FB}"/>
              </a:ext>
            </a:extLst>
          </p:cNvPr>
          <p:cNvSpPr>
            <a:spLocks noGrp="1"/>
          </p:cNvSpPr>
          <p:nvPr>
            <p:ph type="sldNum" sz="quarter" idx="12"/>
          </p:nvPr>
        </p:nvSpPr>
        <p:spPr/>
        <p:txBody>
          <a:bodyPr/>
          <a:lstStyle/>
          <a:p>
            <a:fld id="{98139188-682B-46B8-8E3A-C32D863D2EEC}" type="slidenum">
              <a:rPr lang="ja-JP" altLang="en-US" smtClean="0"/>
              <a:pPr/>
              <a:t>10</a:t>
            </a:fld>
            <a:endParaRPr lang="ja-JP" altLang="en-US"/>
          </a:p>
        </p:txBody>
      </p:sp>
      <p:sp>
        <p:nvSpPr>
          <p:cNvPr id="4" name="タイトル 3">
            <a:extLst>
              <a:ext uri="{FF2B5EF4-FFF2-40B4-BE49-F238E27FC236}">
                <a16:creationId xmlns:a16="http://schemas.microsoft.com/office/drawing/2014/main" id="{BE23AE77-CEAB-36A7-A61B-D1A32051ACD2}"/>
              </a:ext>
            </a:extLst>
          </p:cNvPr>
          <p:cNvSpPr>
            <a:spLocks noGrp="1"/>
          </p:cNvSpPr>
          <p:nvPr>
            <p:ph type="title"/>
          </p:nvPr>
        </p:nvSpPr>
        <p:spPr>
          <a:xfrm>
            <a:off x="251519" y="263966"/>
            <a:ext cx="7680208" cy="523220"/>
          </a:xfrm>
        </p:spPr>
        <p:txBody>
          <a:bodyPr vert="horz"/>
          <a:lstStyle/>
          <a:p>
            <a:r>
              <a:rPr kumimoji="1" lang="ja-JP" altLang="en-US"/>
              <a:t>１．業務要件</a:t>
            </a:r>
          </a:p>
        </p:txBody>
      </p:sp>
      <p:graphicFrame>
        <p:nvGraphicFramePr>
          <p:cNvPr id="6" name="表 7">
            <a:extLst>
              <a:ext uri="{FF2B5EF4-FFF2-40B4-BE49-F238E27FC236}">
                <a16:creationId xmlns:a16="http://schemas.microsoft.com/office/drawing/2014/main" id="{CA8E2A68-9716-173E-515E-C9C3A14F91D1}"/>
              </a:ext>
            </a:extLst>
          </p:cNvPr>
          <p:cNvGraphicFramePr>
            <a:graphicFrameLocks noGrp="1"/>
          </p:cNvGraphicFramePr>
          <p:nvPr/>
        </p:nvGraphicFramePr>
        <p:xfrm>
          <a:off x="72000" y="1381062"/>
          <a:ext cx="9000000" cy="5011087"/>
        </p:xfrm>
        <a:graphic>
          <a:graphicData uri="http://schemas.openxmlformats.org/drawingml/2006/table">
            <a:tbl>
              <a:tblPr firstRow="1" bandRow="1">
                <a:tableStyleId>{5C22544A-7EE6-4342-B048-85BDC9FD1C3A}</a:tableStyleId>
              </a:tblPr>
              <a:tblGrid>
                <a:gridCol w="540000">
                  <a:extLst>
                    <a:ext uri="{9D8B030D-6E8A-4147-A177-3AD203B41FA5}">
                      <a16:colId xmlns:a16="http://schemas.microsoft.com/office/drawing/2014/main" val="301329377"/>
                    </a:ext>
                  </a:extLst>
                </a:gridCol>
                <a:gridCol w="8460000">
                  <a:extLst>
                    <a:ext uri="{9D8B030D-6E8A-4147-A177-3AD203B41FA5}">
                      <a16:colId xmlns:a16="http://schemas.microsoft.com/office/drawing/2014/main" val="1027567464"/>
                    </a:ext>
                  </a:extLst>
                </a:gridCol>
              </a:tblGrid>
              <a:tr h="356298">
                <a:tc>
                  <a:txBody>
                    <a:bodyPr/>
                    <a:lstStyle/>
                    <a:p>
                      <a:endParaRPr kumimoji="1" lang="ja-JP" altLang="en-US"/>
                    </a:p>
                  </a:txBody>
                  <a:tcPr>
                    <a:solidFill>
                      <a:schemeClr val="accent1"/>
                    </a:solidFill>
                  </a:tcPr>
                </a:tc>
                <a:tc>
                  <a:txBody>
                    <a:bodyPr/>
                    <a:lstStyle/>
                    <a:p>
                      <a:pPr algn="l"/>
                      <a:r>
                        <a:rPr kumimoji="1" lang="ja-JP" altLang="en-US"/>
                        <a:t>業務種別　　</a:t>
                      </a:r>
                      <a:r>
                        <a:rPr kumimoji="1" lang="en-US" altLang="ja-JP" sz="1800" b="1">
                          <a:solidFill>
                            <a:schemeClr val="bg1"/>
                          </a:solidFill>
                        </a:rPr>
                        <a:t>e.</a:t>
                      </a:r>
                      <a:r>
                        <a:rPr kumimoji="1" lang="ja-JP" altLang="en-US" sz="1800" b="1">
                          <a:solidFill>
                            <a:schemeClr val="bg1"/>
                          </a:solidFill>
                        </a:rPr>
                        <a:t>マスタ管理</a:t>
                      </a:r>
                      <a:endParaRPr kumimoji="1" lang="en-US" altLang="ja-JP" sz="1800" b="1">
                        <a:solidFill>
                          <a:schemeClr val="bg1"/>
                        </a:solidFill>
                      </a:endParaRPr>
                    </a:p>
                  </a:txBody>
                  <a:tcPr/>
                </a:tc>
                <a:extLst>
                  <a:ext uri="{0D108BD9-81ED-4DB2-BD59-A6C34878D82A}">
                    <a16:rowId xmlns:a16="http://schemas.microsoft.com/office/drawing/2014/main" val="2838924240"/>
                  </a:ext>
                </a:extLst>
              </a:tr>
              <a:tr h="4645327">
                <a:tc>
                  <a:txBody>
                    <a:bodyPr/>
                    <a:lstStyle/>
                    <a:p>
                      <a:r>
                        <a:rPr kumimoji="1" lang="ja-JP" altLang="en-US" sz="1400" b="1">
                          <a:solidFill>
                            <a:schemeClr val="bg1"/>
                          </a:solidFill>
                        </a:rPr>
                        <a:t>利用者</a:t>
                      </a:r>
                    </a:p>
                  </a:txBody>
                  <a:tcPr vert="wordArtVertRtl" anchor="ctr" anchorCtr="1">
                    <a:solidFill>
                      <a:schemeClr val="accent1"/>
                    </a:solidFill>
                  </a:tcPr>
                </a:tc>
                <a:tc>
                  <a:txBody>
                    <a:bodyPr/>
                    <a:lstStyle/>
                    <a:p>
                      <a:endParaRPr kumimoji="1" lang="ja-JP" altLang="en-US"/>
                    </a:p>
                  </a:txBody>
                  <a:tcPr/>
                </a:tc>
                <a:extLst>
                  <a:ext uri="{0D108BD9-81ED-4DB2-BD59-A6C34878D82A}">
                    <a16:rowId xmlns:a16="http://schemas.microsoft.com/office/drawing/2014/main" val="3028206946"/>
                  </a:ext>
                </a:extLst>
              </a:tr>
            </a:tbl>
          </a:graphicData>
        </a:graphic>
      </p:graphicFrame>
      <p:sp>
        <p:nvSpPr>
          <p:cNvPr id="13" name="四角形: 角を丸くする 12">
            <a:extLst>
              <a:ext uri="{FF2B5EF4-FFF2-40B4-BE49-F238E27FC236}">
                <a16:creationId xmlns:a16="http://schemas.microsoft.com/office/drawing/2014/main" id="{22ECFFBA-584D-0208-9494-3F6A561CEFA6}"/>
              </a:ext>
            </a:extLst>
          </p:cNvPr>
          <p:cNvSpPr/>
          <p:nvPr/>
        </p:nvSpPr>
        <p:spPr>
          <a:xfrm>
            <a:off x="941337" y="1865754"/>
            <a:ext cx="1449437" cy="575567"/>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マスタ管理</a:t>
            </a:r>
            <a:br>
              <a:rPr kumimoji="1" lang="en-US" altLang="ja-JP" sz="1200">
                <a:solidFill>
                  <a:schemeClr val="tx1"/>
                </a:solidFill>
              </a:rPr>
            </a:br>
            <a:r>
              <a:rPr kumimoji="1" lang="ja-JP" altLang="en-US" sz="1200">
                <a:solidFill>
                  <a:schemeClr val="tx1"/>
                </a:solidFill>
              </a:rPr>
              <a:t>業務発生</a:t>
            </a:r>
            <a:endParaRPr kumimoji="1" lang="en-US" altLang="ja-JP" sz="1200">
              <a:solidFill>
                <a:schemeClr val="tx1"/>
              </a:solidFill>
            </a:endParaRPr>
          </a:p>
        </p:txBody>
      </p:sp>
      <p:sp>
        <p:nvSpPr>
          <p:cNvPr id="14" name="正方形/長方形 13">
            <a:extLst>
              <a:ext uri="{FF2B5EF4-FFF2-40B4-BE49-F238E27FC236}">
                <a16:creationId xmlns:a16="http://schemas.microsoft.com/office/drawing/2014/main" id="{CA212066-292B-6811-E469-469059AAEFED}"/>
              </a:ext>
            </a:extLst>
          </p:cNvPr>
          <p:cNvSpPr/>
          <p:nvPr/>
        </p:nvSpPr>
        <p:spPr>
          <a:xfrm>
            <a:off x="3238285" y="1901717"/>
            <a:ext cx="1029616" cy="503641"/>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prstClr val="black"/>
                </a:solidFill>
                <a:latin typeface="Yu Gothic UI"/>
                <a:ea typeface="Yu Gothic UI"/>
              </a:rPr>
              <a:t>事業所ルートマスタ</a:t>
            </a:r>
            <a:endParaRPr lang="en-US" altLang="ja-JP" sz="1100">
              <a:solidFill>
                <a:prstClr val="black"/>
              </a:solidFill>
              <a:latin typeface="Yu Gothic UI"/>
              <a:ea typeface="Yu Gothic U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prstClr val="black"/>
                </a:solidFill>
                <a:latin typeface="Yu Gothic UI"/>
                <a:ea typeface="Yu Gothic UI"/>
              </a:rPr>
              <a:t>管理</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16" name="直線矢印コネクタ 15">
            <a:extLst>
              <a:ext uri="{FF2B5EF4-FFF2-40B4-BE49-F238E27FC236}">
                <a16:creationId xmlns:a16="http://schemas.microsoft.com/office/drawing/2014/main" id="{A5E3E74D-35D3-6098-14C3-7B354C66E604}"/>
              </a:ext>
            </a:extLst>
          </p:cNvPr>
          <p:cNvCxnSpPr>
            <a:cxnSpLocks/>
            <a:stCxn id="13" idx="3"/>
            <a:endCxn id="14" idx="1"/>
          </p:cNvCxnSpPr>
          <p:nvPr/>
        </p:nvCxnSpPr>
        <p:spPr>
          <a:xfrm>
            <a:off x="2390774" y="2153538"/>
            <a:ext cx="84751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四角形: 角を丸くする 16">
            <a:extLst>
              <a:ext uri="{FF2B5EF4-FFF2-40B4-BE49-F238E27FC236}">
                <a16:creationId xmlns:a16="http://schemas.microsoft.com/office/drawing/2014/main" id="{B2166DA8-7DFA-3949-3211-38F2350F65BE}"/>
              </a:ext>
            </a:extLst>
          </p:cNvPr>
          <p:cNvSpPr/>
          <p:nvPr/>
        </p:nvSpPr>
        <p:spPr>
          <a:xfrm>
            <a:off x="5771453" y="1863627"/>
            <a:ext cx="677909" cy="579822"/>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完了</a:t>
            </a:r>
          </a:p>
        </p:txBody>
      </p:sp>
      <p:cxnSp>
        <p:nvCxnSpPr>
          <p:cNvPr id="19" name="直線矢印コネクタ 18">
            <a:extLst>
              <a:ext uri="{FF2B5EF4-FFF2-40B4-BE49-F238E27FC236}">
                <a16:creationId xmlns:a16="http://schemas.microsoft.com/office/drawing/2014/main" id="{65522D4B-AF85-33C0-8178-FA89C130C70B}"/>
              </a:ext>
            </a:extLst>
          </p:cNvPr>
          <p:cNvCxnSpPr>
            <a:cxnSpLocks/>
            <a:stCxn id="14" idx="3"/>
          </p:cNvCxnSpPr>
          <p:nvPr/>
        </p:nvCxnSpPr>
        <p:spPr>
          <a:xfrm flipV="1">
            <a:off x="4267901" y="2153537"/>
            <a:ext cx="1503552"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5407D2AF-E184-2ADE-897B-8282DC364E3F}"/>
              </a:ext>
            </a:extLst>
          </p:cNvPr>
          <p:cNvSpPr/>
          <p:nvPr/>
        </p:nvSpPr>
        <p:spPr>
          <a:xfrm>
            <a:off x="3238285" y="2685904"/>
            <a:ext cx="1029616" cy="503641"/>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algn="ctr">
              <a:defRPr/>
            </a:pPr>
            <a:r>
              <a:rPr kumimoji="1" lang="en-US" altLang="ja-JP" sz="1100" b="0" i="0" u="none" strike="noStrike" kern="1200" cap="none" spc="0" normalizeH="0" baseline="0" noProof="0">
                <a:ln>
                  <a:noFill/>
                </a:ln>
                <a:solidFill>
                  <a:prstClr val="black"/>
                </a:solidFill>
                <a:effectLst/>
                <a:uLnTx/>
                <a:uFillTx/>
                <a:latin typeface="Yu Gothic UI"/>
                <a:ea typeface="Yu Gothic UI"/>
                <a:cs typeface="+mn-cs"/>
              </a:rPr>
              <a:t>DB</a:t>
            </a: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情報マスタ</a:t>
            </a:r>
            <a:br>
              <a:rPr kumimoji="1" lang="en-US" altLang="ja-JP" sz="1100" b="0" i="0" u="none" strike="noStrike" kern="1200" cap="none" spc="0" normalizeH="0" baseline="0" noProof="0">
                <a:ln>
                  <a:noFill/>
                </a:ln>
                <a:solidFill>
                  <a:prstClr val="black"/>
                </a:solidFill>
                <a:effectLst/>
                <a:uLnTx/>
                <a:uFillTx/>
                <a:latin typeface="Yu Gothic UI"/>
                <a:ea typeface="Yu Gothic UI"/>
                <a:cs typeface="+mn-cs"/>
              </a:rPr>
            </a:br>
            <a:r>
              <a:rPr lang="ja-JP" altLang="en-US" sz="1100">
                <a:solidFill>
                  <a:prstClr val="black"/>
                </a:solidFill>
                <a:latin typeface="Yu Gothic UI"/>
                <a:ea typeface="Yu Gothic UI"/>
              </a:rPr>
              <a:t>管理</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12" name="正方形/長方形 11">
            <a:extLst>
              <a:ext uri="{FF2B5EF4-FFF2-40B4-BE49-F238E27FC236}">
                <a16:creationId xmlns:a16="http://schemas.microsoft.com/office/drawing/2014/main" id="{EC0B017B-6178-0DE9-25C4-AEE632EEC549}"/>
              </a:ext>
            </a:extLst>
          </p:cNvPr>
          <p:cNvSpPr/>
          <p:nvPr/>
        </p:nvSpPr>
        <p:spPr>
          <a:xfrm>
            <a:off x="3238285" y="3467961"/>
            <a:ext cx="1029616" cy="503641"/>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事業部マスタ</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prstClr val="black"/>
                </a:solidFill>
                <a:latin typeface="Yu Gothic UI"/>
                <a:ea typeface="Yu Gothic UI"/>
              </a:rPr>
              <a:t>管理</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15" name="正方形/長方形 14">
            <a:extLst>
              <a:ext uri="{FF2B5EF4-FFF2-40B4-BE49-F238E27FC236}">
                <a16:creationId xmlns:a16="http://schemas.microsoft.com/office/drawing/2014/main" id="{46E9C1EC-28D9-9B51-0E39-A070473C97D4}"/>
              </a:ext>
            </a:extLst>
          </p:cNvPr>
          <p:cNvSpPr/>
          <p:nvPr/>
        </p:nvSpPr>
        <p:spPr>
          <a:xfrm>
            <a:off x="3238285" y="4250018"/>
            <a:ext cx="1029616" cy="503641"/>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場所環境マスタ</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prstClr val="black"/>
                </a:solidFill>
                <a:latin typeface="Yu Gothic UI"/>
                <a:ea typeface="Yu Gothic UI"/>
              </a:rPr>
              <a:t>管理</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18" name="正方形/長方形 17">
            <a:extLst>
              <a:ext uri="{FF2B5EF4-FFF2-40B4-BE49-F238E27FC236}">
                <a16:creationId xmlns:a16="http://schemas.microsoft.com/office/drawing/2014/main" id="{20B9EC01-B89A-B7B1-0BB2-DA3B4096EE27}"/>
              </a:ext>
            </a:extLst>
          </p:cNvPr>
          <p:cNvSpPr/>
          <p:nvPr/>
        </p:nvSpPr>
        <p:spPr>
          <a:xfrm>
            <a:off x="3238285" y="5026351"/>
            <a:ext cx="1029616" cy="503641"/>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prstClr val="black"/>
                </a:solidFill>
                <a:latin typeface="Yu Gothic UI"/>
                <a:ea typeface="Yu Gothic UI"/>
              </a:rPr>
              <a:t>文書種類マスタ</a:t>
            </a:r>
            <a:endParaRPr lang="en-US" altLang="ja-JP" sz="1100">
              <a:solidFill>
                <a:prstClr val="black"/>
              </a:solidFill>
              <a:latin typeface="Yu Gothic UI"/>
              <a:ea typeface="Yu Gothic U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prstClr val="black"/>
                </a:solidFill>
                <a:latin typeface="Yu Gothic UI"/>
                <a:ea typeface="Yu Gothic UI"/>
              </a:rPr>
              <a:t>管理</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21" name="コネクタ: カギ線 20">
            <a:extLst>
              <a:ext uri="{FF2B5EF4-FFF2-40B4-BE49-F238E27FC236}">
                <a16:creationId xmlns:a16="http://schemas.microsoft.com/office/drawing/2014/main" id="{E43FDB96-289D-92F0-768B-ECD6B6AE352F}"/>
              </a:ext>
            </a:extLst>
          </p:cNvPr>
          <p:cNvCxnSpPr>
            <a:cxnSpLocks/>
            <a:stCxn id="13" idx="3"/>
            <a:endCxn id="11" idx="1"/>
          </p:cNvCxnSpPr>
          <p:nvPr/>
        </p:nvCxnSpPr>
        <p:spPr>
          <a:xfrm>
            <a:off x="2390774" y="2153538"/>
            <a:ext cx="847511" cy="78418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コネクタ: カギ線 27">
            <a:extLst>
              <a:ext uri="{FF2B5EF4-FFF2-40B4-BE49-F238E27FC236}">
                <a16:creationId xmlns:a16="http://schemas.microsoft.com/office/drawing/2014/main" id="{4E43954C-5628-8714-4B7E-F4F3A4C61B5C}"/>
              </a:ext>
            </a:extLst>
          </p:cNvPr>
          <p:cNvCxnSpPr>
            <a:cxnSpLocks/>
            <a:stCxn id="13" idx="3"/>
            <a:endCxn id="12" idx="1"/>
          </p:cNvCxnSpPr>
          <p:nvPr/>
        </p:nvCxnSpPr>
        <p:spPr>
          <a:xfrm>
            <a:off x="2390774" y="2153538"/>
            <a:ext cx="847511" cy="156624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コネクタ: カギ線 33">
            <a:extLst>
              <a:ext uri="{FF2B5EF4-FFF2-40B4-BE49-F238E27FC236}">
                <a16:creationId xmlns:a16="http://schemas.microsoft.com/office/drawing/2014/main" id="{A49A2C55-A2E6-3C7B-416A-A03B40519ADA}"/>
              </a:ext>
            </a:extLst>
          </p:cNvPr>
          <p:cNvCxnSpPr>
            <a:cxnSpLocks/>
          </p:cNvCxnSpPr>
          <p:nvPr/>
        </p:nvCxnSpPr>
        <p:spPr>
          <a:xfrm>
            <a:off x="2390774" y="2153538"/>
            <a:ext cx="847511" cy="234830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コネクタ: カギ線 34">
            <a:extLst>
              <a:ext uri="{FF2B5EF4-FFF2-40B4-BE49-F238E27FC236}">
                <a16:creationId xmlns:a16="http://schemas.microsoft.com/office/drawing/2014/main" id="{130B207A-FF43-00B4-2956-58739FD2D238}"/>
              </a:ext>
            </a:extLst>
          </p:cNvPr>
          <p:cNvCxnSpPr>
            <a:cxnSpLocks/>
            <a:stCxn id="13" idx="3"/>
            <a:endCxn id="18" idx="1"/>
          </p:cNvCxnSpPr>
          <p:nvPr/>
        </p:nvCxnSpPr>
        <p:spPr>
          <a:xfrm>
            <a:off x="2390774" y="2153538"/>
            <a:ext cx="847511" cy="312463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四角形: 角を丸くする 37">
            <a:extLst>
              <a:ext uri="{FF2B5EF4-FFF2-40B4-BE49-F238E27FC236}">
                <a16:creationId xmlns:a16="http://schemas.microsoft.com/office/drawing/2014/main" id="{79B511A8-E2B6-5248-3638-3A1109F4254E}"/>
              </a:ext>
            </a:extLst>
          </p:cNvPr>
          <p:cNvSpPr/>
          <p:nvPr/>
        </p:nvSpPr>
        <p:spPr>
          <a:xfrm>
            <a:off x="5771453" y="2647813"/>
            <a:ext cx="677909" cy="579822"/>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完了</a:t>
            </a:r>
          </a:p>
        </p:txBody>
      </p:sp>
      <p:cxnSp>
        <p:nvCxnSpPr>
          <p:cNvPr id="39" name="直線矢印コネクタ 38">
            <a:extLst>
              <a:ext uri="{FF2B5EF4-FFF2-40B4-BE49-F238E27FC236}">
                <a16:creationId xmlns:a16="http://schemas.microsoft.com/office/drawing/2014/main" id="{F6951A83-CF45-4ED8-8973-5A3EA63C7ECC}"/>
              </a:ext>
            </a:extLst>
          </p:cNvPr>
          <p:cNvCxnSpPr>
            <a:cxnSpLocks/>
          </p:cNvCxnSpPr>
          <p:nvPr/>
        </p:nvCxnSpPr>
        <p:spPr>
          <a:xfrm>
            <a:off x="4267901" y="2937723"/>
            <a:ext cx="150355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四角形: 角を丸くする 39">
            <a:extLst>
              <a:ext uri="{FF2B5EF4-FFF2-40B4-BE49-F238E27FC236}">
                <a16:creationId xmlns:a16="http://schemas.microsoft.com/office/drawing/2014/main" id="{DDED431A-C9F4-1C4F-5BA6-4E6E5C0F0B98}"/>
              </a:ext>
            </a:extLst>
          </p:cNvPr>
          <p:cNvSpPr/>
          <p:nvPr/>
        </p:nvSpPr>
        <p:spPr>
          <a:xfrm>
            <a:off x="5771453" y="3431998"/>
            <a:ext cx="677909" cy="579822"/>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完了</a:t>
            </a:r>
          </a:p>
        </p:txBody>
      </p:sp>
      <p:cxnSp>
        <p:nvCxnSpPr>
          <p:cNvPr id="41" name="直線矢印コネクタ 40">
            <a:extLst>
              <a:ext uri="{FF2B5EF4-FFF2-40B4-BE49-F238E27FC236}">
                <a16:creationId xmlns:a16="http://schemas.microsoft.com/office/drawing/2014/main" id="{4DA8862B-7730-5EA1-6976-30338C1C0749}"/>
              </a:ext>
            </a:extLst>
          </p:cNvPr>
          <p:cNvCxnSpPr>
            <a:cxnSpLocks/>
          </p:cNvCxnSpPr>
          <p:nvPr/>
        </p:nvCxnSpPr>
        <p:spPr>
          <a:xfrm>
            <a:off x="4267901" y="3721908"/>
            <a:ext cx="150355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2" name="四角形: 角を丸くする 41">
            <a:extLst>
              <a:ext uri="{FF2B5EF4-FFF2-40B4-BE49-F238E27FC236}">
                <a16:creationId xmlns:a16="http://schemas.microsoft.com/office/drawing/2014/main" id="{CF44F28D-CB80-13AC-4164-13B6DA05B9CE}"/>
              </a:ext>
            </a:extLst>
          </p:cNvPr>
          <p:cNvSpPr/>
          <p:nvPr/>
        </p:nvSpPr>
        <p:spPr>
          <a:xfrm>
            <a:off x="5771453" y="4216182"/>
            <a:ext cx="677909" cy="579822"/>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完了</a:t>
            </a:r>
          </a:p>
        </p:txBody>
      </p:sp>
      <p:cxnSp>
        <p:nvCxnSpPr>
          <p:cNvPr id="43" name="直線矢印コネクタ 42">
            <a:extLst>
              <a:ext uri="{FF2B5EF4-FFF2-40B4-BE49-F238E27FC236}">
                <a16:creationId xmlns:a16="http://schemas.microsoft.com/office/drawing/2014/main" id="{60124A21-9E4F-28CC-14C8-A8AE8DF5DC06}"/>
              </a:ext>
            </a:extLst>
          </p:cNvPr>
          <p:cNvCxnSpPr>
            <a:cxnSpLocks/>
          </p:cNvCxnSpPr>
          <p:nvPr/>
        </p:nvCxnSpPr>
        <p:spPr>
          <a:xfrm>
            <a:off x="4267901" y="4506092"/>
            <a:ext cx="150355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4" name="四角形: 角を丸くする 43">
            <a:extLst>
              <a:ext uri="{FF2B5EF4-FFF2-40B4-BE49-F238E27FC236}">
                <a16:creationId xmlns:a16="http://schemas.microsoft.com/office/drawing/2014/main" id="{CBF0F393-22BF-4A16-CD0F-02E3F2191860}"/>
              </a:ext>
            </a:extLst>
          </p:cNvPr>
          <p:cNvSpPr/>
          <p:nvPr/>
        </p:nvSpPr>
        <p:spPr>
          <a:xfrm>
            <a:off x="5771453" y="4988260"/>
            <a:ext cx="677909" cy="579822"/>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完了</a:t>
            </a:r>
          </a:p>
        </p:txBody>
      </p:sp>
      <p:cxnSp>
        <p:nvCxnSpPr>
          <p:cNvPr id="45" name="直線矢印コネクタ 44">
            <a:extLst>
              <a:ext uri="{FF2B5EF4-FFF2-40B4-BE49-F238E27FC236}">
                <a16:creationId xmlns:a16="http://schemas.microsoft.com/office/drawing/2014/main" id="{5DFCA7D1-AD92-2F79-EED9-1B3C968BD71F}"/>
              </a:ext>
            </a:extLst>
          </p:cNvPr>
          <p:cNvCxnSpPr>
            <a:cxnSpLocks/>
          </p:cNvCxnSpPr>
          <p:nvPr/>
        </p:nvCxnSpPr>
        <p:spPr>
          <a:xfrm>
            <a:off x="4267901" y="5278170"/>
            <a:ext cx="150355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正方形/長方形 7">
            <a:extLst>
              <a:ext uri="{FF2B5EF4-FFF2-40B4-BE49-F238E27FC236}">
                <a16:creationId xmlns:a16="http://schemas.microsoft.com/office/drawing/2014/main" id="{FAAF23BB-88A7-F24C-AC99-43CBD74FD407}"/>
              </a:ext>
            </a:extLst>
          </p:cNvPr>
          <p:cNvSpPr/>
          <p:nvPr/>
        </p:nvSpPr>
        <p:spPr>
          <a:xfrm>
            <a:off x="3238285" y="5794181"/>
            <a:ext cx="1029616" cy="503641"/>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prstClr val="black"/>
                </a:solidFill>
                <a:latin typeface="Yu Gothic UI"/>
                <a:ea typeface="Yu Gothic UI"/>
              </a:rPr>
              <a:t>システム管理者</a:t>
            </a:r>
            <a:br>
              <a:rPr lang="en-US" altLang="ja-JP" sz="1100">
                <a:solidFill>
                  <a:prstClr val="black"/>
                </a:solidFill>
                <a:latin typeface="Yu Gothic UI"/>
                <a:ea typeface="Yu Gothic UI"/>
              </a:rPr>
            </a:br>
            <a:r>
              <a:rPr lang="ja-JP" altLang="en-US" sz="1100">
                <a:solidFill>
                  <a:prstClr val="black"/>
                </a:solidFill>
                <a:latin typeface="Yu Gothic UI"/>
                <a:ea typeface="Yu Gothic UI"/>
              </a:rPr>
              <a:t>マスタ管理</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9" name="四角形: 角を丸くする 8">
            <a:extLst>
              <a:ext uri="{FF2B5EF4-FFF2-40B4-BE49-F238E27FC236}">
                <a16:creationId xmlns:a16="http://schemas.microsoft.com/office/drawing/2014/main" id="{0D275605-B48D-446A-410E-79E9C13C7D53}"/>
              </a:ext>
            </a:extLst>
          </p:cNvPr>
          <p:cNvSpPr/>
          <p:nvPr/>
        </p:nvSpPr>
        <p:spPr>
          <a:xfrm>
            <a:off x="5771453" y="5756090"/>
            <a:ext cx="677909" cy="579822"/>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完了</a:t>
            </a:r>
          </a:p>
        </p:txBody>
      </p:sp>
      <p:cxnSp>
        <p:nvCxnSpPr>
          <p:cNvPr id="20" name="直線矢印コネクタ 19">
            <a:extLst>
              <a:ext uri="{FF2B5EF4-FFF2-40B4-BE49-F238E27FC236}">
                <a16:creationId xmlns:a16="http://schemas.microsoft.com/office/drawing/2014/main" id="{18936885-6191-513B-563B-E9D22CEA01E3}"/>
              </a:ext>
            </a:extLst>
          </p:cNvPr>
          <p:cNvCxnSpPr>
            <a:cxnSpLocks/>
          </p:cNvCxnSpPr>
          <p:nvPr/>
        </p:nvCxnSpPr>
        <p:spPr>
          <a:xfrm>
            <a:off x="4267901" y="6046000"/>
            <a:ext cx="150355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コネクタ: カギ線 21">
            <a:extLst>
              <a:ext uri="{FF2B5EF4-FFF2-40B4-BE49-F238E27FC236}">
                <a16:creationId xmlns:a16="http://schemas.microsoft.com/office/drawing/2014/main" id="{4975B4C0-CC27-A804-8D93-97FF529FFFF8}"/>
              </a:ext>
            </a:extLst>
          </p:cNvPr>
          <p:cNvCxnSpPr>
            <a:cxnSpLocks/>
            <a:stCxn id="13" idx="3"/>
            <a:endCxn id="8" idx="1"/>
          </p:cNvCxnSpPr>
          <p:nvPr/>
        </p:nvCxnSpPr>
        <p:spPr>
          <a:xfrm>
            <a:off x="2390774" y="2153538"/>
            <a:ext cx="847511" cy="389246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998B8C7A-57CD-F954-0E47-DD3B754FED15}"/>
              </a:ext>
            </a:extLst>
          </p:cNvPr>
          <p:cNvSpPr txBox="1"/>
          <p:nvPr/>
        </p:nvSpPr>
        <p:spPr>
          <a:xfrm>
            <a:off x="6041413" y="941442"/>
            <a:ext cx="622066" cy="230832"/>
          </a:xfrm>
          <a:prstGeom prst="rect">
            <a:avLst/>
          </a:prstGeom>
          <a:noFill/>
        </p:spPr>
        <p:txBody>
          <a:bodyPr wrap="square">
            <a:spAutoFit/>
          </a:bodyPr>
          <a:lstStyle/>
          <a:p>
            <a:r>
              <a:rPr kumimoji="1" lang="ja-JP" altLang="en-US" sz="900">
                <a:solidFill>
                  <a:schemeClr val="tx1"/>
                </a:solidFill>
              </a:rPr>
              <a:t>凡例：</a:t>
            </a:r>
            <a:endParaRPr kumimoji="1" lang="en-US" altLang="ja-JP" sz="900">
              <a:solidFill>
                <a:schemeClr val="tx1"/>
              </a:solidFill>
            </a:endParaRPr>
          </a:p>
        </p:txBody>
      </p:sp>
      <p:cxnSp>
        <p:nvCxnSpPr>
          <p:cNvPr id="24" name="直線コネクタ 23">
            <a:extLst>
              <a:ext uri="{FF2B5EF4-FFF2-40B4-BE49-F238E27FC236}">
                <a16:creationId xmlns:a16="http://schemas.microsoft.com/office/drawing/2014/main" id="{0865576A-1B36-A8A5-4921-926983DD2105}"/>
              </a:ext>
            </a:extLst>
          </p:cNvPr>
          <p:cNvCxnSpPr>
            <a:cxnSpLocks/>
          </p:cNvCxnSpPr>
          <p:nvPr/>
        </p:nvCxnSpPr>
        <p:spPr>
          <a:xfrm>
            <a:off x="6663479" y="1060541"/>
            <a:ext cx="469371" cy="0"/>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FDF1FE02-F734-BABC-E5FB-1D645A5E32E2}"/>
              </a:ext>
            </a:extLst>
          </p:cNvPr>
          <p:cNvSpPr txBox="1"/>
          <p:nvPr/>
        </p:nvSpPr>
        <p:spPr>
          <a:xfrm>
            <a:off x="6112932" y="1381063"/>
            <a:ext cx="3097382" cy="338554"/>
          </a:xfrm>
          <a:prstGeom prst="rect">
            <a:avLst/>
          </a:prstGeom>
          <a:noFill/>
        </p:spPr>
        <p:txBody>
          <a:bodyPr wrap="square">
            <a:spAutoFit/>
          </a:bodyPr>
          <a:lstStyle/>
          <a:p>
            <a:r>
              <a:rPr lang="en-US" altLang="ja-JP" sz="800"/>
              <a:t>※</a:t>
            </a:r>
            <a:r>
              <a:rPr lang="ja-JP" altLang="en-US" sz="800"/>
              <a:t>本</a:t>
            </a:r>
            <a:r>
              <a:rPr lang="en-US" altLang="ja-JP" sz="800"/>
              <a:t>WF</a:t>
            </a:r>
            <a:r>
              <a:rPr lang="ja-JP" altLang="en-US" sz="800"/>
              <a:t>は機能の全体感を示すために記載しています</a:t>
            </a:r>
            <a:endParaRPr lang="en-US" altLang="ja-JP" sz="800"/>
          </a:p>
          <a:p>
            <a:r>
              <a:rPr kumimoji="1" lang="ja-JP" altLang="en-US" sz="800">
                <a:solidFill>
                  <a:schemeClr val="tx1"/>
                </a:solidFill>
              </a:rPr>
              <a:t>　分岐としての差戻は機能一覧に記載しています</a:t>
            </a:r>
            <a:endParaRPr kumimoji="1" lang="en-US" altLang="ja-JP" sz="800">
              <a:solidFill>
                <a:schemeClr val="tx1"/>
              </a:solidFill>
            </a:endParaRPr>
          </a:p>
        </p:txBody>
      </p:sp>
      <p:sp>
        <p:nvSpPr>
          <p:cNvPr id="25" name="テキスト プレースホルダー 4">
            <a:extLst>
              <a:ext uri="{FF2B5EF4-FFF2-40B4-BE49-F238E27FC236}">
                <a16:creationId xmlns:a16="http://schemas.microsoft.com/office/drawing/2014/main" id="{1661E248-4978-3966-0647-72947EC28DF2}"/>
              </a:ext>
            </a:extLst>
          </p:cNvPr>
          <p:cNvSpPr txBox="1">
            <a:spLocks/>
          </p:cNvSpPr>
          <p:nvPr/>
        </p:nvSpPr>
        <p:spPr>
          <a:xfrm>
            <a:off x="251524" y="1052963"/>
            <a:ext cx="8640950" cy="365125"/>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lang="ja-JP" altLang="en-US" sz="1800"/>
              <a:t>業務フロー</a:t>
            </a:r>
            <a:endParaRPr kumimoji="1" lang="en-US" altLang="zh-TW" sz="1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23" name="テキスト ボックス 22">
            <a:extLst>
              <a:ext uri="{FF2B5EF4-FFF2-40B4-BE49-F238E27FC236}">
                <a16:creationId xmlns:a16="http://schemas.microsoft.com/office/drawing/2014/main" id="{7BC17EBD-9488-A8BB-A430-FA22707154DC}"/>
              </a:ext>
            </a:extLst>
          </p:cNvPr>
          <p:cNvSpPr txBox="1"/>
          <p:nvPr/>
        </p:nvSpPr>
        <p:spPr>
          <a:xfrm>
            <a:off x="7132849" y="941442"/>
            <a:ext cx="1939149" cy="230832"/>
          </a:xfrm>
          <a:prstGeom prst="rect">
            <a:avLst/>
          </a:prstGeom>
          <a:noFill/>
        </p:spPr>
        <p:txBody>
          <a:bodyPr wrap="square">
            <a:spAutoFit/>
          </a:body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900"/>
              <a:t>2.</a:t>
            </a:r>
            <a:r>
              <a:rPr kumimoji="1" lang="ja-JP" altLang="en-US" sz="900"/>
              <a:t>機能要件</a:t>
            </a:r>
            <a:r>
              <a:rPr kumimoji="1" lang="en-US" altLang="ja-JP" sz="900"/>
              <a:t>(1)</a:t>
            </a:r>
            <a:r>
              <a:rPr kumimoji="1" lang="ja-JP" altLang="en-US" sz="900"/>
              <a:t>機能要件一覧参照</a:t>
            </a:r>
            <a:endParaRPr kumimoji="1" lang="en-US" altLang="zh-TW"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Tree>
    <p:extLst>
      <p:ext uri="{BB962C8B-B14F-4D97-AF65-F5344CB8AC3E}">
        <p14:creationId xmlns:p14="http://schemas.microsoft.com/office/powerpoint/2010/main" val="39719235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A976F1A-1F23-8E7A-9FE8-516548FD8E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5" name="think-cell data - do not delete" hidden="1">
                        <a:extLst>
                          <a:ext uri="{FF2B5EF4-FFF2-40B4-BE49-F238E27FC236}">
                            <a16:creationId xmlns:a16="http://schemas.microsoft.com/office/drawing/2014/main" id="{BA976F1A-1F23-8E7A-9FE8-516548FD8E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BE23AE77-CEAB-36A7-A61B-D1A32051ACD2}"/>
              </a:ext>
            </a:extLst>
          </p:cNvPr>
          <p:cNvSpPr>
            <a:spLocks noGrp="1"/>
          </p:cNvSpPr>
          <p:nvPr>
            <p:ph type="title"/>
          </p:nvPr>
        </p:nvSpPr>
        <p:spPr>
          <a:xfrm>
            <a:off x="251519" y="263966"/>
            <a:ext cx="7680208" cy="523220"/>
          </a:xfrm>
        </p:spPr>
        <p:txBody>
          <a:bodyPr vert="horz"/>
          <a:lstStyle/>
          <a:p>
            <a:r>
              <a:rPr kumimoji="1" lang="ja-JP" altLang="en-US"/>
              <a:t>１．業務要件</a:t>
            </a:r>
          </a:p>
        </p:txBody>
      </p:sp>
      <p:graphicFrame>
        <p:nvGraphicFramePr>
          <p:cNvPr id="6" name="表 7">
            <a:extLst>
              <a:ext uri="{FF2B5EF4-FFF2-40B4-BE49-F238E27FC236}">
                <a16:creationId xmlns:a16="http://schemas.microsoft.com/office/drawing/2014/main" id="{CA8E2A68-9716-173E-515E-C9C3A14F91D1}"/>
              </a:ext>
            </a:extLst>
          </p:cNvPr>
          <p:cNvGraphicFramePr>
            <a:graphicFrameLocks noGrp="1"/>
          </p:cNvGraphicFramePr>
          <p:nvPr/>
        </p:nvGraphicFramePr>
        <p:xfrm>
          <a:off x="72000" y="1381062"/>
          <a:ext cx="9000000" cy="5011087"/>
        </p:xfrm>
        <a:graphic>
          <a:graphicData uri="http://schemas.openxmlformats.org/drawingml/2006/table">
            <a:tbl>
              <a:tblPr firstRow="1" bandRow="1">
                <a:tableStyleId>{5C22544A-7EE6-4342-B048-85BDC9FD1C3A}</a:tableStyleId>
              </a:tblPr>
              <a:tblGrid>
                <a:gridCol w="540000">
                  <a:extLst>
                    <a:ext uri="{9D8B030D-6E8A-4147-A177-3AD203B41FA5}">
                      <a16:colId xmlns:a16="http://schemas.microsoft.com/office/drawing/2014/main" val="301329377"/>
                    </a:ext>
                  </a:extLst>
                </a:gridCol>
                <a:gridCol w="8460000">
                  <a:extLst>
                    <a:ext uri="{9D8B030D-6E8A-4147-A177-3AD203B41FA5}">
                      <a16:colId xmlns:a16="http://schemas.microsoft.com/office/drawing/2014/main" val="1027567464"/>
                    </a:ext>
                  </a:extLst>
                </a:gridCol>
              </a:tblGrid>
              <a:tr h="356298">
                <a:tc>
                  <a:txBody>
                    <a:bodyPr/>
                    <a:lstStyle/>
                    <a:p>
                      <a:endParaRPr kumimoji="1" lang="ja-JP" altLang="en-US"/>
                    </a:p>
                  </a:txBody>
                  <a:tcPr>
                    <a:solidFill>
                      <a:schemeClr val="accent1"/>
                    </a:solidFill>
                  </a:tcPr>
                </a:tc>
                <a:tc>
                  <a:txBody>
                    <a:bodyPr/>
                    <a:lstStyle/>
                    <a:p>
                      <a:pPr algn="l"/>
                      <a:r>
                        <a:rPr kumimoji="1" lang="ja-JP" altLang="en-US"/>
                        <a:t>業務種別　　</a:t>
                      </a:r>
                      <a:r>
                        <a:rPr kumimoji="1" lang="en-US" altLang="ja-JP" sz="1800" b="1">
                          <a:solidFill>
                            <a:schemeClr val="bg1"/>
                          </a:solidFill>
                        </a:rPr>
                        <a:t>f.</a:t>
                      </a:r>
                      <a:r>
                        <a:rPr kumimoji="1" lang="ja-JP" altLang="en-US" sz="1800" b="1">
                          <a:solidFill>
                            <a:schemeClr val="bg1"/>
                          </a:solidFill>
                        </a:rPr>
                        <a:t>品質情報管理</a:t>
                      </a:r>
                      <a:endParaRPr kumimoji="1" lang="en-US" altLang="ja-JP" sz="1800" b="1">
                        <a:solidFill>
                          <a:schemeClr val="bg1"/>
                        </a:solidFill>
                      </a:endParaRPr>
                    </a:p>
                  </a:txBody>
                  <a:tcPr/>
                </a:tc>
                <a:extLst>
                  <a:ext uri="{0D108BD9-81ED-4DB2-BD59-A6C34878D82A}">
                    <a16:rowId xmlns:a16="http://schemas.microsoft.com/office/drawing/2014/main" val="2838924240"/>
                  </a:ext>
                </a:extLst>
              </a:tr>
              <a:tr h="4645327">
                <a:tc>
                  <a:txBody>
                    <a:bodyPr/>
                    <a:lstStyle/>
                    <a:p>
                      <a:r>
                        <a:rPr kumimoji="1" lang="ja-JP" altLang="en-US" sz="1400" b="1">
                          <a:solidFill>
                            <a:schemeClr val="bg1"/>
                          </a:solidFill>
                        </a:rPr>
                        <a:t>利用者</a:t>
                      </a:r>
                    </a:p>
                  </a:txBody>
                  <a:tcPr vert="wordArtVertRtl" anchor="ctr" anchorCtr="1">
                    <a:solidFill>
                      <a:schemeClr val="accent1"/>
                    </a:solidFill>
                  </a:tcPr>
                </a:tc>
                <a:tc>
                  <a:txBody>
                    <a:bodyPr/>
                    <a:lstStyle/>
                    <a:p>
                      <a:endParaRPr kumimoji="1" lang="ja-JP" altLang="en-US"/>
                    </a:p>
                  </a:txBody>
                  <a:tcPr/>
                </a:tc>
                <a:extLst>
                  <a:ext uri="{0D108BD9-81ED-4DB2-BD59-A6C34878D82A}">
                    <a16:rowId xmlns:a16="http://schemas.microsoft.com/office/drawing/2014/main" val="3028206946"/>
                  </a:ext>
                </a:extLst>
              </a:tr>
            </a:tbl>
          </a:graphicData>
        </a:graphic>
      </p:graphicFrame>
      <p:sp>
        <p:nvSpPr>
          <p:cNvPr id="13" name="四角形: 角を丸くする 12">
            <a:extLst>
              <a:ext uri="{FF2B5EF4-FFF2-40B4-BE49-F238E27FC236}">
                <a16:creationId xmlns:a16="http://schemas.microsoft.com/office/drawing/2014/main" id="{22ECFFBA-584D-0208-9494-3F6A561CEFA6}"/>
              </a:ext>
            </a:extLst>
          </p:cNvPr>
          <p:cNvSpPr/>
          <p:nvPr/>
        </p:nvSpPr>
        <p:spPr>
          <a:xfrm>
            <a:off x="941337" y="1865754"/>
            <a:ext cx="1449437" cy="575567"/>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a:solidFill>
                  <a:schemeClr val="tx1"/>
                </a:solidFill>
              </a:rPr>
              <a:t>品質情報管理</a:t>
            </a:r>
            <a:br>
              <a:rPr lang="en-US" altLang="ja-JP" sz="1200">
                <a:solidFill>
                  <a:schemeClr val="tx1"/>
                </a:solidFill>
              </a:rPr>
            </a:br>
            <a:r>
              <a:rPr lang="ja-JP" altLang="en-US" sz="1200">
                <a:solidFill>
                  <a:schemeClr val="tx1"/>
                </a:solidFill>
              </a:rPr>
              <a:t>業務発生</a:t>
            </a:r>
            <a:endParaRPr lang="en-US" altLang="ja-JP" sz="1200">
              <a:solidFill>
                <a:schemeClr val="tx1"/>
              </a:solidFill>
            </a:endParaRPr>
          </a:p>
        </p:txBody>
      </p:sp>
      <p:sp>
        <p:nvSpPr>
          <p:cNvPr id="14" name="正方形/長方形 13">
            <a:extLst>
              <a:ext uri="{FF2B5EF4-FFF2-40B4-BE49-F238E27FC236}">
                <a16:creationId xmlns:a16="http://schemas.microsoft.com/office/drawing/2014/main" id="{CA212066-292B-6811-E469-469059AAEFED}"/>
              </a:ext>
            </a:extLst>
          </p:cNvPr>
          <p:cNvSpPr/>
          <p:nvPr/>
        </p:nvSpPr>
        <p:spPr>
          <a:xfrm>
            <a:off x="3238285" y="1901717"/>
            <a:ext cx="1029616" cy="503641"/>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製品情報作成</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16" name="直線矢印コネクタ 15">
            <a:extLst>
              <a:ext uri="{FF2B5EF4-FFF2-40B4-BE49-F238E27FC236}">
                <a16:creationId xmlns:a16="http://schemas.microsoft.com/office/drawing/2014/main" id="{A5E3E74D-35D3-6098-14C3-7B354C66E604}"/>
              </a:ext>
            </a:extLst>
          </p:cNvPr>
          <p:cNvCxnSpPr>
            <a:cxnSpLocks/>
            <a:stCxn id="13" idx="3"/>
            <a:endCxn id="14" idx="1"/>
          </p:cNvCxnSpPr>
          <p:nvPr/>
        </p:nvCxnSpPr>
        <p:spPr>
          <a:xfrm>
            <a:off x="2390774" y="2153538"/>
            <a:ext cx="84751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四角形: 角を丸くする 16">
            <a:extLst>
              <a:ext uri="{FF2B5EF4-FFF2-40B4-BE49-F238E27FC236}">
                <a16:creationId xmlns:a16="http://schemas.microsoft.com/office/drawing/2014/main" id="{B2166DA8-7DFA-3949-3211-38F2350F65BE}"/>
              </a:ext>
            </a:extLst>
          </p:cNvPr>
          <p:cNvSpPr/>
          <p:nvPr/>
        </p:nvSpPr>
        <p:spPr>
          <a:xfrm>
            <a:off x="5771453" y="1863627"/>
            <a:ext cx="677909" cy="579822"/>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完了</a:t>
            </a:r>
          </a:p>
        </p:txBody>
      </p:sp>
      <p:cxnSp>
        <p:nvCxnSpPr>
          <p:cNvPr id="19" name="直線矢印コネクタ 18">
            <a:extLst>
              <a:ext uri="{FF2B5EF4-FFF2-40B4-BE49-F238E27FC236}">
                <a16:creationId xmlns:a16="http://schemas.microsoft.com/office/drawing/2014/main" id="{65522D4B-AF85-33C0-8178-FA89C130C70B}"/>
              </a:ext>
            </a:extLst>
          </p:cNvPr>
          <p:cNvCxnSpPr>
            <a:cxnSpLocks/>
            <a:stCxn id="14" idx="3"/>
          </p:cNvCxnSpPr>
          <p:nvPr/>
        </p:nvCxnSpPr>
        <p:spPr>
          <a:xfrm flipV="1">
            <a:off x="4267901" y="2153537"/>
            <a:ext cx="1503552"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正方形/長方形 11">
            <a:extLst>
              <a:ext uri="{FF2B5EF4-FFF2-40B4-BE49-F238E27FC236}">
                <a16:creationId xmlns:a16="http://schemas.microsoft.com/office/drawing/2014/main" id="{EC0B017B-6178-0DE9-25C4-AEE632EEC549}"/>
              </a:ext>
            </a:extLst>
          </p:cNvPr>
          <p:cNvSpPr/>
          <p:nvPr/>
        </p:nvSpPr>
        <p:spPr>
          <a:xfrm>
            <a:off x="3238285" y="2724948"/>
            <a:ext cx="1029616" cy="503641"/>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事業部変更</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15" name="正方形/長方形 14">
            <a:extLst>
              <a:ext uri="{FF2B5EF4-FFF2-40B4-BE49-F238E27FC236}">
                <a16:creationId xmlns:a16="http://schemas.microsoft.com/office/drawing/2014/main" id="{46E9C1EC-28D9-9B51-0E39-A070473C97D4}"/>
              </a:ext>
            </a:extLst>
          </p:cNvPr>
          <p:cNvSpPr/>
          <p:nvPr/>
        </p:nvSpPr>
        <p:spPr>
          <a:xfrm>
            <a:off x="3238285" y="3507005"/>
            <a:ext cx="1029616" cy="503641"/>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prstClr val="black"/>
                </a:solidFill>
                <a:latin typeface="Yu Gothic UI"/>
                <a:ea typeface="Yu Gothic UI"/>
              </a:rPr>
              <a:t>組管登録会社</a:t>
            </a:r>
            <a:br>
              <a:rPr lang="en-US" altLang="ja-JP" sz="1100">
                <a:solidFill>
                  <a:prstClr val="black"/>
                </a:solidFill>
                <a:latin typeface="Yu Gothic UI"/>
                <a:ea typeface="Yu Gothic UI"/>
              </a:rPr>
            </a:br>
            <a:r>
              <a:rPr lang="ja-JP" altLang="en-US" sz="1100">
                <a:solidFill>
                  <a:prstClr val="black"/>
                </a:solidFill>
                <a:latin typeface="Yu Gothic UI"/>
                <a:ea typeface="Yu Gothic UI"/>
              </a:rPr>
              <a:t>登録</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18" name="正方形/長方形 17">
            <a:extLst>
              <a:ext uri="{FF2B5EF4-FFF2-40B4-BE49-F238E27FC236}">
                <a16:creationId xmlns:a16="http://schemas.microsoft.com/office/drawing/2014/main" id="{20B9EC01-B89A-B7B1-0BB2-DA3B4096EE27}"/>
              </a:ext>
            </a:extLst>
          </p:cNvPr>
          <p:cNvSpPr/>
          <p:nvPr/>
        </p:nvSpPr>
        <p:spPr>
          <a:xfrm>
            <a:off x="3238285" y="4283338"/>
            <a:ext cx="1029616" cy="503641"/>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prstClr val="black"/>
                </a:solidFill>
                <a:latin typeface="Yu Gothic UI"/>
                <a:ea typeface="Yu Gothic UI"/>
              </a:rPr>
              <a:t>システム定義登録</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28" name="コネクタ: カギ線 27">
            <a:extLst>
              <a:ext uri="{FF2B5EF4-FFF2-40B4-BE49-F238E27FC236}">
                <a16:creationId xmlns:a16="http://schemas.microsoft.com/office/drawing/2014/main" id="{4E43954C-5628-8714-4B7E-F4F3A4C61B5C}"/>
              </a:ext>
            </a:extLst>
          </p:cNvPr>
          <p:cNvCxnSpPr>
            <a:cxnSpLocks/>
            <a:stCxn id="13" idx="3"/>
            <a:endCxn id="12" idx="1"/>
          </p:cNvCxnSpPr>
          <p:nvPr/>
        </p:nvCxnSpPr>
        <p:spPr>
          <a:xfrm>
            <a:off x="2390774" y="2153538"/>
            <a:ext cx="847511" cy="82323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コネクタ: カギ線 33">
            <a:extLst>
              <a:ext uri="{FF2B5EF4-FFF2-40B4-BE49-F238E27FC236}">
                <a16:creationId xmlns:a16="http://schemas.microsoft.com/office/drawing/2014/main" id="{A49A2C55-A2E6-3C7B-416A-A03B40519ADA}"/>
              </a:ext>
            </a:extLst>
          </p:cNvPr>
          <p:cNvCxnSpPr>
            <a:cxnSpLocks/>
          </p:cNvCxnSpPr>
          <p:nvPr/>
        </p:nvCxnSpPr>
        <p:spPr>
          <a:xfrm>
            <a:off x="2390774" y="2153538"/>
            <a:ext cx="847511" cy="234830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コネクタ: カギ線 34">
            <a:extLst>
              <a:ext uri="{FF2B5EF4-FFF2-40B4-BE49-F238E27FC236}">
                <a16:creationId xmlns:a16="http://schemas.microsoft.com/office/drawing/2014/main" id="{130B207A-FF43-00B4-2956-58739FD2D238}"/>
              </a:ext>
            </a:extLst>
          </p:cNvPr>
          <p:cNvCxnSpPr>
            <a:cxnSpLocks/>
            <a:stCxn id="13" idx="3"/>
            <a:endCxn id="15" idx="1"/>
          </p:cNvCxnSpPr>
          <p:nvPr/>
        </p:nvCxnSpPr>
        <p:spPr>
          <a:xfrm>
            <a:off x="2390774" y="2153538"/>
            <a:ext cx="847511" cy="160528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四角形: 角を丸くする 39">
            <a:extLst>
              <a:ext uri="{FF2B5EF4-FFF2-40B4-BE49-F238E27FC236}">
                <a16:creationId xmlns:a16="http://schemas.microsoft.com/office/drawing/2014/main" id="{DDED431A-C9F4-1C4F-5BA6-4E6E5C0F0B98}"/>
              </a:ext>
            </a:extLst>
          </p:cNvPr>
          <p:cNvSpPr/>
          <p:nvPr/>
        </p:nvSpPr>
        <p:spPr>
          <a:xfrm>
            <a:off x="5771453" y="2688985"/>
            <a:ext cx="677909" cy="579822"/>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完了</a:t>
            </a:r>
          </a:p>
        </p:txBody>
      </p:sp>
      <p:cxnSp>
        <p:nvCxnSpPr>
          <p:cNvPr id="41" name="直線矢印コネクタ 40">
            <a:extLst>
              <a:ext uri="{FF2B5EF4-FFF2-40B4-BE49-F238E27FC236}">
                <a16:creationId xmlns:a16="http://schemas.microsoft.com/office/drawing/2014/main" id="{4DA8862B-7730-5EA1-6976-30338C1C0749}"/>
              </a:ext>
            </a:extLst>
          </p:cNvPr>
          <p:cNvCxnSpPr>
            <a:cxnSpLocks/>
          </p:cNvCxnSpPr>
          <p:nvPr/>
        </p:nvCxnSpPr>
        <p:spPr>
          <a:xfrm>
            <a:off x="4267901" y="2978895"/>
            <a:ext cx="150355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2" name="四角形: 角を丸くする 41">
            <a:extLst>
              <a:ext uri="{FF2B5EF4-FFF2-40B4-BE49-F238E27FC236}">
                <a16:creationId xmlns:a16="http://schemas.microsoft.com/office/drawing/2014/main" id="{CF44F28D-CB80-13AC-4164-13B6DA05B9CE}"/>
              </a:ext>
            </a:extLst>
          </p:cNvPr>
          <p:cNvSpPr/>
          <p:nvPr/>
        </p:nvSpPr>
        <p:spPr>
          <a:xfrm>
            <a:off x="5771453" y="3473169"/>
            <a:ext cx="677909" cy="579822"/>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完了</a:t>
            </a:r>
          </a:p>
        </p:txBody>
      </p:sp>
      <p:cxnSp>
        <p:nvCxnSpPr>
          <p:cNvPr id="43" name="直線矢印コネクタ 42">
            <a:extLst>
              <a:ext uri="{FF2B5EF4-FFF2-40B4-BE49-F238E27FC236}">
                <a16:creationId xmlns:a16="http://schemas.microsoft.com/office/drawing/2014/main" id="{60124A21-9E4F-28CC-14C8-A8AE8DF5DC06}"/>
              </a:ext>
            </a:extLst>
          </p:cNvPr>
          <p:cNvCxnSpPr>
            <a:cxnSpLocks/>
          </p:cNvCxnSpPr>
          <p:nvPr/>
        </p:nvCxnSpPr>
        <p:spPr>
          <a:xfrm>
            <a:off x="4267901" y="3763079"/>
            <a:ext cx="150355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4" name="四角形: 角を丸くする 43">
            <a:extLst>
              <a:ext uri="{FF2B5EF4-FFF2-40B4-BE49-F238E27FC236}">
                <a16:creationId xmlns:a16="http://schemas.microsoft.com/office/drawing/2014/main" id="{CBF0F393-22BF-4A16-CD0F-02E3F2191860}"/>
              </a:ext>
            </a:extLst>
          </p:cNvPr>
          <p:cNvSpPr/>
          <p:nvPr/>
        </p:nvSpPr>
        <p:spPr>
          <a:xfrm>
            <a:off x="5771453" y="4245247"/>
            <a:ext cx="677909" cy="579822"/>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完了</a:t>
            </a:r>
          </a:p>
        </p:txBody>
      </p:sp>
      <p:cxnSp>
        <p:nvCxnSpPr>
          <p:cNvPr id="45" name="直線矢印コネクタ 44">
            <a:extLst>
              <a:ext uri="{FF2B5EF4-FFF2-40B4-BE49-F238E27FC236}">
                <a16:creationId xmlns:a16="http://schemas.microsoft.com/office/drawing/2014/main" id="{5DFCA7D1-AD92-2F79-EED9-1B3C968BD71F}"/>
              </a:ext>
            </a:extLst>
          </p:cNvPr>
          <p:cNvCxnSpPr>
            <a:cxnSpLocks/>
          </p:cNvCxnSpPr>
          <p:nvPr/>
        </p:nvCxnSpPr>
        <p:spPr>
          <a:xfrm>
            <a:off x="4267901" y="4535157"/>
            <a:ext cx="150355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6A8A18C4-64C0-9954-B58A-591FAFFD18B8}"/>
              </a:ext>
            </a:extLst>
          </p:cNvPr>
          <p:cNvSpPr txBox="1"/>
          <p:nvPr/>
        </p:nvSpPr>
        <p:spPr>
          <a:xfrm>
            <a:off x="6041413" y="941442"/>
            <a:ext cx="622066" cy="230832"/>
          </a:xfrm>
          <a:prstGeom prst="rect">
            <a:avLst/>
          </a:prstGeom>
          <a:noFill/>
        </p:spPr>
        <p:txBody>
          <a:bodyPr wrap="square">
            <a:spAutoFit/>
          </a:bodyPr>
          <a:lstStyle/>
          <a:p>
            <a:r>
              <a:rPr kumimoji="1" lang="ja-JP" altLang="en-US" sz="900">
                <a:solidFill>
                  <a:schemeClr val="tx1"/>
                </a:solidFill>
              </a:rPr>
              <a:t>凡例：</a:t>
            </a:r>
            <a:endParaRPr kumimoji="1" lang="en-US" altLang="ja-JP" sz="900">
              <a:solidFill>
                <a:schemeClr val="tx1"/>
              </a:solidFill>
            </a:endParaRPr>
          </a:p>
        </p:txBody>
      </p:sp>
      <p:cxnSp>
        <p:nvCxnSpPr>
          <p:cNvPr id="20" name="直線コネクタ 19">
            <a:extLst>
              <a:ext uri="{FF2B5EF4-FFF2-40B4-BE49-F238E27FC236}">
                <a16:creationId xmlns:a16="http://schemas.microsoft.com/office/drawing/2014/main" id="{263DFA98-8ABF-3557-2AEF-69DE87C11BFE}"/>
              </a:ext>
            </a:extLst>
          </p:cNvPr>
          <p:cNvCxnSpPr>
            <a:cxnSpLocks/>
          </p:cNvCxnSpPr>
          <p:nvPr/>
        </p:nvCxnSpPr>
        <p:spPr>
          <a:xfrm>
            <a:off x="6663479" y="1060541"/>
            <a:ext cx="469371" cy="0"/>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テキスト ボックス 1">
            <a:extLst>
              <a:ext uri="{FF2B5EF4-FFF2-40B4-BE49-F238E27FC236}">
                <a16:creationId xmlns:a16="http://schemas.microsoft.com/office/drawing/2014/main" id="{3191658C-E517-9A4A-A6FA-8A4557905B7F}"/>
              </a:ext>
            </a:extLst>
          </p:cNvPr>
          <p:cNvSpPr txBox="1"/>
          <p:nvPr/>
        </p:nvSpPr>
        <p:spPr>
          <a:xfrm>
            <a:off x="6112932" y="1381063"/>
            <a:ext cx="3097382" cy="338554"/>
          </a:xfrm>
          <a:prstGeom prst="rect">
            <a:avLst/>
          </a:prstGeom>
          <a:noFill/>
        </p:spPr>
        <p:txBody>
          <a:bodyPr wrap="square">
            <a:spAutoFit/>
          </a:bodyPr>
          <a:lstStyle/>
          <a:p>
            <a:r>
              <a:rPr lang="en-US" altLang="ja-JP" sz="800"/>
              <a:t>※</a:t>
            </a:r>
            <a:r>
              <a:rPr lang="ja-JP" altLang="en-US" sz="800"/>
              <a:t>本</a:t>
            </a:r>
            <a:r>
              <a:rPr lang="en-US" altLang="ja-JP" sz="800"/>
              <a:t>WF</a:t>
            </a:r>
            <a:r>
              <a:rPr lang="ja-JP" altLang="en-US" sz="800"/>
              <a:t>は機能の全体感を示すために記載しています</a:t>
            </a:r>
            <a:endParaRPr lang="en-US" altLang="ja-JP" sz="800"/>
          </a:p>
          <a:p>
            <a:r>
              <a:rPr kumimoji="1" lang="ja-JP" altLang="en-US" sz="800">
                <a:solidFill>
                  <a:schemeClr val="tx1"/>
                </a:solidFill>
              </a:rPr>
              <a:t>　分岐としての差戻は機能一覧に記載しています</a:t>
            </a:r>
            <a:endParaRPr kumimoji="1" lang="en-US" altLang="ja-JP" sz="800">
              <a:solidFill>
                <a:schemeClr val="tx1"/>
              </a:solidFill>
            </a:endParaRPr>
          </a:p>
        </p:txBody>
      </p:sp>
      <p:sp>
        <p:nvSpPr>
          <p:cNvPr id="7" name="テキスト プレースホルダー 4">
            <a:extLst>
              <a:ext uri="{FF2B5EF4-FFF2-40B4-BE49-F238E27FC236}">
                <a16:creationId xmlns:a16="http://schemas.microsoft.com/office/drawing/2014/main" id="{666F078F-C383-93C6-1ACC-3DD6C2EA2D55}"/>
              </a:ext>
            </a:extLst>
          </p:cNvPr>
          <p:cNvSpPr txBox="1">
            <a:spLocks/>
          </p:cNvSpPr>
          <p:nvPr/>
        </p:nvSpPr>
        <p:spPr>
          <a:xfrm>
            <a:off x="251524" y="1052963"/>
            <a:ext cx="8640950" cy="365125"/>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lang="ja-JP" altLang="en-US" sz="1800"/>
              <a:t>業務フロー</a:t>
            </a:r>
            <a:endParaRPr kumimoji="1" lang="en-US" altLang="zh-TW" sz="1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8" name="スライド番号プレースホルダー 1">
            <a:extLst>
              <a:ext uri="{FF2B5EF4-FFF2-40B4-BE49-F238E27FC236}">
                <a16:creationId xmlns:a16="http://schemas.microsoft.com/office/drawing/2014/main" id="{EC202678-AD5C-8C01-EC24-084B7FC2B6A9}"/>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3" name="テキスト ボックス 2">
            <a:extLst>
              <a:ext uri="{FF2B5EF4-FFF2-40B4-BE49-F238E27FC236}">
                <a16:creationId xmlns:a16="http://schemas.microsoft.com/office/drawing/2014/main" id="{487C0541-FF2B-23A0-BB9D-91722A6A7530}"/>
              </a:ext>
            </a:extLst>
          </p:cNvPr>
          <p:cNvSpPr txBox="1"/>
          <p:nvPr/>
        </p:nvSpPr>
        <p:spPr>
          <a:xfrm>
            <a:off x="7132849" y="941442"/>
            <a:ext cx="1939149" cy="230832"/>
          </a:xfrm>
          <a:prstGeom prst="rect">
            <a:avLst/>
          </a:prstGeom>
          <a:noFill/>
        </p:spPr>
        <p:txBody>
          <a:bodyPr wrap="square">
            <a:spAutoFit/>
          </a:body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900"/>
              <a:t>2.</a:t>
            </a:r>
            <a:r>
              <a:rPr kumimoji="1" lang="ja-JP" altLang="en-US" sz="900"/>
              <a:t>機能要件</a:t>
            </a:r>
            <a:r>
              <a:rPr kumimoji="1" lang="en-US" altLang="ja-JP" sz="900"/>
              <a:t>(1)</a:t>
            </a:r>
            <a:r>
              <a:rPr kumimoji="1" lang="ja-JP" altLang="en-US" sz="900"/>
              <a:t>機能要件一覧参照</a:t>
            </a:r>
            <a:endParaRPr kumimoji="1" lang="en-US" altLang="zh-TW"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Tree>
    <p:extLst>
      <p:ext uri="{BB962C8B-B14F-4D97-AF65-F5344CB8AC3E}">
        <p14:creationId xmlns:p14="http://schemas.microsoft.com/office/powerpoint/2010/main" val="34972284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A976F1A-1F23-8E7A-9FE8-516548FD8E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5" name="think-cell data - do not delete" hidden="1">
                        <a:extLst>
                          <a:ext uri="{FF2B5EF4-FFF2-40B4-BE49-F238E27FC236}">
                            <a16:creationId xmlns:a16="http://schemas.microsoft.com/office/drawing/2014/main" id="{BA976F1A-1F23-8E7A-9FE8-516548FD8E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BE23AE77-CEAB-36A7-A61B-D1A32051ACD2}"/>
              </a:ext>
            </a:extLst>
          </p:cNvPr>
          <p:cNvSpPr>
            <a:spLocks noGrp="1"/>
          </p:cNvSpPr>
          <p:nvPr>
            <p:ph type="title"/>
          </p:nvPr>
        </p:nvSpPr>
        <p:spPr>
          <a:xfrm>
            <a:off x="251519" y="263966"/>
            <a:ext cx="7680208" cy="523220"/>
          </a:xfrm>
        </p:spPr>
        <p:txBody>
          <a:bodyPr vert="horz"/>
          <a:lstStyle/>
          <a:p>
            <a:r>
              <a:rPr kumimoji="1" lang="ja-JP" altLang="en-US"/>
              <a:t>１．業務要件</a:t>
            </a:r>
          </a:p>
        </p:txBody>
      </p:sp>
      <p:graphicFrame>
        <p:nvGraphicFramePr>
          <p:cNvPr id="6" name="表 7">
            <a:extLst>
              <a:ext uri="{FF2B5EF4-FFF2-40B4-BE49-F238E27FC236}">
                <a16:creationId xmlns:a16="http://schemas.microsoft.com/office/drawing/2014/main" id="{CA8E2A68-9716-173E-515E-C9C3A14F91D1}"/>
              </a:ext>
            </a:extLst>
          </p:cNvPr>
          <p:cNvGraphicFramePr>
            <a:graphicFrameLocks noGrp="1"/>
          </p:cNvGraphicFramePr>
          <p:nvPr/>
        </p:nvGraphicFramePr>
        <p:xfrm>
          <a:off x="72000" y="1381062"/>
          <a:ext cx="9000000" cy="5011087"/>
        </p:xfrm>
        <a:graphic>
          <a:graphicData uri="http://schemas.openxmlformats.org/drawingml/2006/table">
            <a:tbl>
              <a:tblPr firstRow="1" bandRow="1">
                <a:tableStyleId>{5C22544A-7EE6-4342-B048-85BDC9FD1C3A}</a:tableStyleId>
              </a:tblPr>
              <a:tblGrid>
                <a:gridCol w="540000">
                  <a:extLst>
                    <a:ext uri="{9D8B030D-6E8A-4147-A177-3AD203B41FA5}">
                      <a16:colId xmlns:a16="http://schemas.microsoft.com/office/drawing/2014/main" val="301329377"/>
                    </a:ext>
                  </a:extLst>
                </a:gridCol>
                <a:gridCol w="8460000">
                  <a:extLst>
                    <a:ext uri="{9D8B030D-6E8A-4147-A177-3AD203B41FA5}">
                      <a16:colId xmlns:a16="http://schemas.microsoft.com/office/drawing/2014/main" val="1027567464"/>
                    </a:ext>
                  </a:extLst>
                </a:gridCol>
              </a:tblGrid>
              <a:tr h="356298">
                <a:tc>
                  <a:txBody>
                    <a:bodyPr/>
                    <a:lstStyle/>
                    <a:p>
                      <a:endParaRPr kumimoji="1" lang="ja-JP" altLang="en-US"/>
                    </a:p>
                  </a:txBody>
                  <a:tcPr>
                    <a:solidFill>
                      <a:schemeClr val="accent1"/>
                    </a:solidFill>
                  </a:tcPr>
                </a:tc>
                <a:tc>
                  <a:txBody>
                    <a:bodyPr/>
                    <a:lstStyle/>
                    <a:p>
                      <a:pPr algn="l"/>
                      <a:r>
                        <a:rPr kumimoji="1" lang="ja-JP" altLang="en-US"/>
                        <a:t>業務種別　　</a:t>
                      </a:r>
                      <a:r>
                        <a:rPr kumimoji="1" lang="en-US" altLang="ja-JP" sz="1800" b="1">
                          <a:solidFill>
                            <a:schemeClr val="bg1"/>
                          </a:solidFill>
                        </a:rPr>
                        <a:t>g.</a:t>
                      </a:r>
                      <a:r>
                        <a:rPr kumimoji="1" lang="ja-JP" altLang="en-US" sz="1800" b="1">
                          <a:solidFill>
                            <a:schemeClr val="bg1"/>
                          </a:solidFill>
                        </a:rPr>
                        <a:t>関連文書管理</a:t>
                      </a:r>
                      <a:endParaRPr kumimoji="1" lang="en-US" altLang="ja-JP" sz="1800" b="1">
                        <a:solidFill>
                          <a:schemeClr val="bg1"/>
                        </a:solidFill>
                      </a:endParaRPr>
                    </a:p>
                  </a:txBody>
                  <a:tcPr/>
                </a:tc>
                <a:extLst>
                  <a:ext uri="{0D108BD9-81ED-4DB2-BD59-A6C34878D82A}">
                    <a16:rowId xmlns:a16="http://schemas.microsoft.com/office/drawing/2014/main" val="2838924240"/>
                  </a:ext>
                </a:extLst>
              </a:tr>
              <a:tr h="4645327">
                <a:tc>
                  <a:txBody>
                    <a:bodyPr/>
                    <a:lstStyle/>
                    <a:p>
                      <a:r>
                        <a:rPr kumimoji="1" lang="ja-JP" altLang="en-US" sz="1400" b="1">
                          <a:solidFill>
                            <a:schemeClr val="bg1"/>
                          </a:solidFill>
                        </a:rPr>
                        <a:t>利用者</a:t>
                      </a:r>
                    </a:p>
                  </a:txBody>
                  <a:tcPr vert="wordArtVertRtl" anchor="ctr" anchorCtr="1">
                    <a:solidFill>
                      <a:schemeClr val="accent1"/>
                    </a:solidFill>
                  </a:tcPr>
                </a:tc>
                <a:tc>
                  <a:txBody>
                    <a:bodyPr/>
                    <a:lstStyle/>
                    <a:p>
                      <a:endParaRPr kumimoji="1" lang="en-US" altLang="ja-JP"/>
                    </a:p>
                    <a:p>
                      <a:endParaRPr kumimoji="1" lang="ja-JP" altLang="en-US"/>
                    </a:p>
                  </a:txBody>
                  <a:tcPr/>
                </a:tc>
                <a:extLst>
                  <a:ext uri="{0D108BD9-81ED-4DB2-BD59-A6C34878D82A}">
                    <a16:rowId xmlns:a16="http://schemas.microsoft.com/office/drawing/2014/main" val="3028206946"/>
                  </a:ext>
                </a:extLst>
              </a:tr>
            </a:tbl>
          </a:graphicData>
        </a:graphic>
      </p:graphicFrame>
      <p:sp>
        <p:nvSpPr>
          <p:cNvPr id="13" name="四角形: 角を丸くする 12">
            <a:extLst>
              <a:ext uri="{FF2B5EF4-FFF2-40B4-BE49-F238E27FC236}">
                <a16:creationId xmlns:a16="http://schemas.microsoft.com/office/drawing/2014/main" id="{22ECFFBA-584D-0208-9494-3F6A561CEFA6}"/>
              </a:ext>
            </a:extLst>
          </p:cNvPr>
          <p:cNvSpPr/>
          <p:nvPr/>
        </p:nvSpPr>
        <p:spPr>
          <a:xfrm>
            <a:off x="941337" y="1865754"/>
            <a:ext cx="1449437" cy="575567"/>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関連文書管理</a:t>
            </a:r>
            <a:br>
              <a:rPr kumimoji="1" lang="en-US" altLang="ja-JP" sz="1200">
                <a:solidFill>
                  <a:schemeClr val="tx1"/>
                </a:solidFill>
              </a:rPr>
            </a:br>
            <a:r>
              <a:rPr kumimoji="1" lang="ja-JP" altLang="en-US" sz="1200">
                <a:solidFill>
                  <a:schemeClr val="tx1"/>
                </a:solidFill>
              </a:rPr>
              <a:t>業務発生</a:t>
            </a:r>
            <a:endParaRPr kumimoji="1" lang="en-US" altLang="ja-JP" sz="1200">
              <a:solidFill>
                <a:schemeClr val="tx1"/>
              </a:solidFill>
            </a:endParaRPr>
          </a:p>
        </p:txBody>
      </p:sp>
      <p:sp>
        <p:nvSpPr>
          <p:cNvPr id="14" name="正方形/長方形 13">
            <a:extLst>
              <a:ext uri="{FF2B5EF4-FFF2-40B4-BE49-F238E27FC236}">
                <a16:creationId xmlns:a16="http://schemas.microsoft.com/office/drawing/2014/main" id="{CA212066-292B-6811-E469-469059AAEFED}"/>
              </a:ext>
            </a:extLst>
          </p:cNvPr>
          <p:cNvSpPr/>
          <p:nvPr/>
        </p:nvSpPr>
        <p:spPr>
          <a:xfrm>
            <a:off x="3238285" y="1901717"/>
            <a:ext cx="1029616" cy="503641"/>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関連文書登録</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16" name="直線矢印コネクタ 15">
            <a:extLst>
              <a:ext uri="{FF2B5EF4-FFF2-40B4-BE49-F238E27FC236}">
                <a16:creationId xmlns:a16="http://schemas.microsoft.com/office/drawing/2014/main" id="{A5E3E74D-35D3-6098-14C3-7B354C66E604}"/>
              </a:ext>
            </a:extLst>
          </p:cNvPr>
          <p:cNvCxnSpPr>
            <a:cxnSpLocks/>
            <a:stCxn id="13" idx="3"/>
            <a:endCxn id="14" idx="1"/>
          </p:cNvCxnSpPr>
          <p:nvPr/>
        </p:nvCxnSpPr>
        <p:spPr>
          <a:xfrm>
            <a:off x="2390774" y="2153538"/>
            <a:ext cx="84751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四角形: 角を丸くする 16">
            <a:extLst>
              <a:ext uri="{FF2B5EF4-FFF2-40B4-BE49-F238E27FC236}">
                <a16:creationId xmlns:a16="http://schemas.microsoft.com/office/drawing/2014/main" id="{B2166DA8-7DFA-3949-3211-38F2350F65BE}"/>
              </a:ext>
            </a:extLst>
          </p:cNvPr>
          <p:cNvSpPr/>
          <p:nvPr/>
        </p:nvSpPr>
        <p:spPr>
          <a:xfrm>
            <a:off x="5771453" y="1863627"/>
            <a:ext cx="677909" cy="579822"/>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完了</a:t>
            </a:r>
          </a:p>
        </p:txBody>
      </p:sp>
      <p:cxnSp>
        <p:nvCxnSpPr>
          <p:cNvPr id="19" name="直線矢印コネクタ 18">
            <a:extLst>
              <a:ext uri="{FF2B5EF4-FFF2-40B4-BE49-F238E27FC236}">
                <a16:creationId xmlns:a16="http://schemas.microsoft.com/office/drawing/2014/main" id="{65522D4B-AF85-33C0-8178-FA89C130C70B}"/>
              </a:ext>
            </a:extLst>
          </p:cNvPr>
          <p:cNvCxnSpPr>
            <a:cxnSpLocks/>
            <a:stCxn id="14" idx="3"/>
          </p:cNvCxnSpPr>
          <p:nvPr/>
        </p:nvCxnSpPr>
        <p:spPr>
          <a:xfrm flipV="1">
            <a:off x="4267901" y="2153537"/>
            <a:ext cx="1503552"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5407D2AF-E184-2ADE-897B-8282DC364E3F}"/>
              </a:ext>
            </a:extLst>
          </p:cNvPr>
          <p:cNvSpPr/>
          <p:nvPr/>
        </p:nvSpPr>
        <p:spPr>
          <a:xfrm>
            <a:off x="3238285" y="2812141"/>
            <a:ext cx="1029616" cy="503641"/>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algn="ctr">
              <a:defRPr/>
            </a:pP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データメンテナンス</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21" name="コネクタ: カギ線 20">
            <a:extLst>
              <a:ext uri="{FF2B5EF4-FFF2-40B4-BE49-F238E27FC236}">
                <a16:creationId xmlns:a16="http://schemas.microsoft.com/office/drawing/2014/main" id="{E43FDB96-289D-92F0-768B-ECD6B6AE352F}"/>
              </a:ext>
            </a:extLst>
          </p:cNvPr>
          <p:cNvCxnSpPr>
            <a:cxnSpLocks/>
            <a:stCxn id="13" idx="3"/>
            <a:endCxn id="11" idx="1"/>
          </p:cNvCxnSpPr>
          <p:nvPr/>
        </p:nvCxnSpPr>
        <p:spPr>
          <a:xfrm>
            <a:off x="2390774" y="2153538"/>
            <a:ext cx="847511" cy="91042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四角形: 角を丸くする 37">
            <a:extLst>
              <a:ext uri="{FF2B5EF4-FFF2-40B4-BE49-F238E27FC236}">
                <a16:creationId xmlns:a16="http://schemas.microsoft.com/office/drawing/2014/main" id="{79B511A8-E2B6-5248-3638-3A1109F4254E}"/>
              </a:ext>
            </a:extLst>
          </p:cNvPr>
          <p:cNvSpPr/>
          <p:nvPr/>
        </p:nvSpPr>
        <p:spPr>
          <a:xfrm>
            <a:off x="5771453" y="2774050"/>
            <a:ext cx="677909" cy="579822"/>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完了</a:t>
            </a:r>
          </a:p>
        </p:txBody>
      </p:sp>
      <p:cxnSp>
        <p:nvCxnSpPr>
          <p:cNvPr id="39" name="直線矢印コネクタ 38">
            <a:extLst>
              <a:ext uri="{FF2B5EF4-FFF2-40B4-BE49-F238E27FC236}">
                <a16:creationId xmlns:a16="http://schemas.microsoft.com/office/drawing/2014/main" id="{F6951A83-CF45-4ED8-8973-5A3EA63C7ECC}"/>
              </a:ext>
            </a:extLst>
          </p:cNvPr>
          <p:cNvCxnSpPr>
            <a:cxnSpLocks/>
          </p:cNvCxnSpPr>
          <p:nvPr/>
        </p:nvCxnSpPr>
        <p:spPr>
          <a:xfrm>
            <a:off x="4267901" y="3063960"/>
            <a:ext cx="150355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正方形/長方形 21">
            <a:extLst>
              <a:ext uri="{FF2B5EF4-FFF2-40B4-BE49-F238E27FC236}">
                <a16:creationId xmlns:a16="http://schemas.microsoft.com/office/drawing/2014/main" id="{C07CFA5C-9434-B384-CC7B-F30AD5ACB7DE}"/>
              </a:ext>
            </a:extLst>
          </p:cNvPr>
          <p:cNvSpPr/>
          <p:nvPr/>
        </p:nvSpPr>
        <p:spPr>
          <a:xfrm>
            <a:off x="3181836" y="3274235"/>
            <a:ext cx="1449437" cy="4501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ü"/>
            </a:pPr>
            <a:r>
              <a:rPr kumimoji="1" lang="ja-JP" altLang="en-US" sz="900">
                <a:solidFill>
                  <a:schemeClr val="tx1"/>
                </a:solidFill>
              </a:rPr>
              <a:t>製品一括登録</a:t>
            </a:r>
            <a:endParaRPr kumimoji="1" lang="en-US" altLang="ja-JP" sz="900">
              <a:solidFill>
                <a:schemeClr val="tx1"/>
              </a:solidFill>
            </a:endParaRPr>
          </a:p>
          <a:p>
            <a:pPr marL="285750" indent="-285750">
              <a:buFont typeface="Wingdings" panose="05000000000000000000" pitchFamily="2" charset="2"/>
              <a:buChar char="ü"/>
            </a:pPr>
            <a:r>
              <a:rPr kumimoji="1" lang="ja-JP" altLang="en-US" sz="900">
                <a:solidFill>
                  <a:schemeClr val="tx1"/>
                </a:solidFill>
              </a:rPr>
              <a:t>管理部署変更</a:t>
            </a:r>
            <a:endParaRPr kumimoji="1" lang="en-US" altLang="ja-JP" sz="900">
              <a:solidFill>
                <a:schemeClr val="tx1"/>
              </a:solidFill>
            </a:endParaRPr>
          </a:p>
        </p:txBody>
      </p:sp>
      <p:sp>
        <p:nvSpPr>
          <p:cNvPr id="7" name="正方形/長方形 6">
            <a:extLst>
              <a:ext uri="{FF2B5EF4-FFF2-40B4-BE49-F238E27FC236}">
                <a16:creationId xmlns:a16="http://schemas.microsoft.com/office/drawing/2014/main" id="{21AF3A12-C909-530C-17A1-95E707234A95}"/>
              </a:ext>
            </a:extLst>
          </p:cNvPr>
          <p:cNvSpPr/>
          <p:nvPr/>
        </p:nvSpPr>
        <p:spPr>
          <a:xfrm>
            <a:off x="3238285" y="3827320"/>
            <a:ext cx="1029616" cy="503641"/>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algn="ctr">
              <a:defRPr/>
            </a:pPr>
            <a:r>
              <a:rPr lang="ja-JP" altLang="en-US" sz="1100">
                <a:solidFill>
                  <a:prstClr val="black"/>
                </a:solidFill>
                <a:latin typeface="Yu Gothic UI"/>
                <a:ea typeface="Yu Gothic UI"/>
              </a:rPr>
              <a:t>関連文書廃棄</a:t>
            </a:r>
            <a:endParaRPr kumimoji="1" lang="en-US" altLang="ja-JP" sz="110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8" name="四角形: 角を丸くする 7">
            <a:extLst>
              <a:ext uri="{FF2B5EF4-FFF2-40B4-BE49-F238E27FC236}">
                <a16:creationId xmlns:a16="http://schemas.microsoft.com/office/drawing/2014/main" id="{462A6F21-0FDA-75FD-05F0-04E9CBAC147E}"/>
              </a:ext>
            </a:extLst>
          </p:cNvPr>
          <p:cNvSpPr/>
          <p:nvPr/>
        </p:nvSpPr>
        <p:spPr>
          <a:xfrm>
            <a:off x="5771453" y="3789229"/>
            <a:ext cx="677909" cy="579822"/>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完了</a:t>
            </a:r>
          </a:p>
        </p:txBody>
      </p:sp>
      <p:cxnSp>
        <p:nvCxnSpPr>
          <p:cNvPr id="9" name="直線矢印コネクタ 8">
            <a:extLst>
              <a:ext uri="{FF2B5EF4-FFF2-40B4-BE49-F238E27FC236}">
                <a16:creationId xmlns:a16="http://schemas.microsoft.com/office/drawing/2014/main" id="{7E8967A3-15D9-4FB6-2416-2DB1517FCCFD}"/>
              </a:ext>
            </a:extLst>
          </p:cNvPr>
          <p:cNvCxnSpPr>
            <a:cxnSpLocks/>
          </p:cNvCxnSpPr>
          <p:nvPr/>
        </p:nvCxnSpPr>
        <p:spPr>
          <a:xfrm>
            <a:off x="4267901" y="4079139"/>
            <a:ext cx="150355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正方形/長方形 11">
            <a:extLst>
              <a:ext uri="{FF2B5EF4-FFF2-40B4-BE49-F238E27FC236}">
                <a16:creationId xmlns:a16="http://schemas.microsoft.com/office/drawing/2014/main" id="{C0BF444B-3562-A0FA-667B-68B9247C338C}"/>
              </a:ext>
            </a:extLst>
          </p:cNvPr>
          <p:cNvSpPr/>
          <p:nvPr/>
        </p:nvSpPr>
        <p:spPr>
          <a:xfrm>
            <a:off x="3238285" y="4699998"/>
            <a:ext cx="1029616" cy="503641"/>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algn="ctr">
              <a:defRPr/>
            </a:pPr>
            <a:r>
              <a:rPr lang="ja-JP" altLang="en-US" sz="1100">
                <a:solidFill>
                  <a:prstClr val="black"/>
                </a:solidFill>
                <a:latin typeface="Yu Gothic UI"/>
                <a:ea typeface="Yu Gothic UI"/>
              </a:rPr>
              <a:t>場所マスタ設定</a:t>
            </a:r>
            <a:endParaRPr kumimoji="1" lang="en-US" altLang="ja-JP" sz="110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15" name="四角形: 角を丸くする 14">
            <a:extLst>
              <a:ext uri="{FF2B5EF4-FFF2-40B4-BE49-F238E27FC236}">
                <a16:creationId xmlns:a16="http://schemas.microsoft.com/office/drawing/2014/main" id="{EEEDF8D9-9A8B-DF45-C7D2-42C09AA83BDC}"/>
              </a:ext>
            </a:extLst>
          </p:cNvPr>
          <p:cNvSpPr/>
          <p:nvPr/>
        </p:nvSpPr>
        <p:spPr>
          <a:xfrm>
            <a:off x="5771453" y="4661907"/>
            <a:ext cx="677909" cy="579822"/>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完了</a:t>
            </a:r>
          </a:p>
        </p:txBody>
      </p:sp>
      <p:cxnSp>
        <p:nvCxnSpPr>
          <p:cNvPr id="18" name="直線矢印コネクタ 17">
            <a:extLst>
              <a:ext uri="{FF2B5EF4-FFF2-40B4-BE49-F238E27FC236}">
                <a16:creationId xmlns:a16="http://schemas.microsoft.com/office/drawing/2014/main" id="{236D51B2-8690-6035-3A55-4CD5E18A968F}"/>
              </a:ext>
            </a:extLst>
          </p:cNvPr>
          <p:cNvCxnSpPr>
            <a:cxnSpLocks/>
          </p:cNvCxnSpPr>
          <p:nvPr/>
        </p:nvCxnSpPr>
        <p:spPr>
          <a:xfrm>
            <a:off x="4267901" y="4951817"/>
            <a:ext cx="150355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コネクタ: カギ線 23">
            <a:extLst>
              <a:ext uri="{FF2B5EF4-FFF2-40B4-BE49-F238E27FC236}">
                <a16:creationId xmlns:a16="http://schemas.microsoft.com/office/drawing/2014/main" id="{DE864895-2173-FFCF-8E9E-F55619A9F086}"/>
              </a:ext>
            </a:extLst>
          </p:cNvPr>
          <p:cNvCxnSpPr>
            <a:cxnSpLocks/>
            <a:stCxn id="13" idx="3"/>
            <a:endCxn id="12" idx="1"/>
          </p:cNvCxnSpPr>
          <p:nvPr/>
        </p:nvCxnSpPr>
        <p:spPr>
          <a:xfrm>
            <a:off x="2390774" y="2153538"/>
            <a:ext cx="847511" cy="279828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コネクタ: カギ線 24">
            <a:extLst>
              <a:ext uri="{FF2B5EF4-FFF2-40B4-BE49-F238E27FC236}">
                <a16:creationId xmlns:a16="http://schemas.microsoft.com/office/drawing/2014/main" id="{08FD903E-6A2E-8E54-0494-8912A830A763}"/>
              </a:ext>
            </a:extLst>
          </p:cNvPr>
          <p:cNvCxnSpPr>
            <a:cxnSpLocks/>
            <a:stCxn id="13" idx="3"/>
            <a:endCxn id="7" idx="1"/>
          </p:cNvCxnSpPr>
          <p:nvPr/>
        </p:nvCxnSpPr>
        <p:spPr>
          <a:xfrm>
            <a:off x="2390774" y="2153538"/>
            <a:ext cx="847511" cy="192560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a:extLst>
              <a:ext uri="{FF2B5EF4-FFF2-40B4-BE49-F238E27FC236}">
                <a16:creationId xmlns:a16="http://schemas.microsoft.com/office/drawing/2014/main" id="{C506A232-9C79-A34C-6B5E-77F954C10B6A}"/>
              </a:ext>
            </a:extLst>
          </p:cNvPr>
          <p:cNvSpPr txBox="1"/>
          <p:nvPr/>
        </p:nvSpPr>
        <p:spPr>
          <a:xfrm>
            <a:off x="6041413" y="941442"/>
            <a:ext cx="622066" cy="230832"/>
          </a:xfrm>
          <a:prstGeom prst="rect">
            <a:avLst/>
          </a:prstGeom>
          <a:noFill/>
        </p:spPr>
        <p:txBody>
          <a:bodyPr wrap="square">
            <a:spAutoFit/>
          </a:bodyPr>
          <a:lstStyle/>
          <a:p>
            <a:r>
              <a:rPr kumimoji="1" lang="ja-JP" altLang="en-US" sz="900">
                <a:solidFill>
                  <a:schemeClr val="tx1"/>
                </a:solidFill>
              </a:rPr>
              <a:t>凡例：</a:t>
            </a:r>
            <a:endParaRPr kumimoji="1" lang="en-US" altLang="ja-JP" sz="900">
              <a:solidFill>
                <a:schemeClr val="tx1"/>
              </a:solidFill>
            </a:endParaRPr>
          </a:p>
        </p:txBody>
      </p:sp>
      <p:cxnSp>
        <p:nvCxnSpPr>
          <p:cNvPr id="34" name="直線コネクタ 33">
            <a:extLst>
              <a:ext uri="{FF2B5EF4-FFF2-40B4-BE49-F238E27FC236}">
                <a16:creationId xmlns:a16="http://schemas.microsoft.com/office/drawing/2014/main" id="{0659D07D-8AD4-1560-E8F8-79344344A1CB}"/>
              </a:ext>
            </a:extLst>
          </p:cNvPr>
          <p:cNvCxnSpPr>
            <a:cxnSpLocks/>
          </p:cNvCxnSpPr>
          <p:nvPr/>
        </p:nvCxnSpPr>
        <p:spPr>
          <a:xfrm>
            <a:off x="6663479" y="1060541"/>
            <a:ext cx="469371" cy="0"/>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テキスト ボックス 1">
            <a:extLst>
              <a:ext uri="{FF2B5EF4-FFF2-40B4-BE49-F238E27FC236}">
                <a16:creationId xmlns:a16="http://schemas.microsoft.com/office/drawing/2014/main" id="{1B2E5042-9110-684A-A36F-CB33DE458D32}"/>
              </a:ext>
            </a:extLst>
          </p:cNvPr>
          <p:cNvSpPr txBox="1"/>
          <p:nvPr/>
        </p:nvSpPr>
        <p:spPr>
          <a:xfrm>
            <a:off x="6112932" y="1381063"/>
            <a:ext cx="3097382" cy="338554"/>
          </a:xfrm>
          <a:prstGeom prst="rect">
            <a:avLst/>
          </a:prstGeom>
          <a:noFill/>
        </p:spPr>
        <p:txBody>
          <a:bodyPr wrap="square">
            <a:spAutoFit/>
          </a:bodyPr>
          <a:lstStyle/>
          <a:p>
            <a:r>
              <a:rPr lang="en-US" altLang="ja-JP" sz="800"/>
              <a:t>※</a:t>
            </a:r>
            <a:r>
              <a:rPr lang="ja-JP" altLang="en-US" sz="800"/>
              <a:t>本</a:t>
            </a:r>
            <a:r>
              <a:rPr lang="en-US" altLang="ja-JP" sz="800"/>
              <a:t>WF</a:t>
            </a:r>
            <a:r>
              <a:rPr lang="ja-JP" altLang="en-US" sz="800"/>
              <a:t>は機能の全体感を示すために記載しています</a:t>
            </a:r>
            <a:endParaRPr lang="en-US" altLang="ja-JP" sz="800"/>
          </a:p>
          <a:p>
            <a:r>
              <a:rPr kumimoji="1" lang="ja-JP" altLang="en-US" sz="800">
                <a:solidFill>
                  <a:schemeClr val="tx1"/>
                </a:solidFill>
              </a:rPr>
              <a:t>　分岐としての差戻は機能一覧に記載しています</a:t>
            </a:r>
            <a:endParaRPr kumimoji="1" lang="en-US" altLang="ja-JP" sz="800">
              <a:solidFill>
                <a:schemeClr val="tx1"/>
              </a:solidFill>
            </a:endParaRPr>
          </a:p>
        </p:txBody>
      </p:sp>
      <p:sp>
        <p:nvSpPr>
          <p:cNvPr id="28" name="正方形/長方形 27">
            <a:extLst>
              <a:ext uri="{FF2B5EF4-FFF2-40B4-BE49-F238E27FC236}">
                <a16:creationId xmlns:a16="http://schemas.microsoft.com/office/drawing/2014/main" id="{9862DAC9-D226-781F-7CBC-25929BEBD6A8}"/>
              </a:ext>
            </a:extLst>
          </p:cNvPr>
          <p:cNvSpPr/>
          <p:nvPr/>
        </p:nvSpPr>
        <p:spPr>
          <a:xfrm>
            <a:off x="3181836" y="2390551"/>
            <a:ext cx="1449437" cy="3009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ü"/>
            </a:pPr>
            <a:r>
              <a:rPr kumimoji="1" lang="ja-JP" altLang="en-US" sz="900">
                <a:solidFill>
                  <a:schemeClr val="tx1"/>
                </a:solidFill>
              </a:rPr>
              <a:t>ワークフロー設定あり</a:t>
            </a:r>
            <a:endParaRPr kumimoji="1" lang="en-US" altLang="ja-JP" sz="900">
              <a:solidFill>
                <a:schemeClr val="tx1"/>
              </a:solidFill>
            </a:endParaRPr>
          </a:p>
        </p:txBody>
      </p:sp>
      <p:sp>
        <p:nvSpPr>
          <p:cNvPr id="10" name="テキスト プレースホルダー 4">
            <a:extLst>
              <a:ext uri="{FF2B5EF4-FFF2-40B4-BE49-F238E27FC236}">
                <a16:creationId xmlns:a16="http://schemas.microsoft.com/office/drawing/2014/main" id="{207B63E7-8786-2BA7-74A9-494F9F0D953E}"/>
              </a:ext>
            </a:extLst>
          </p:cNvPr>
          <p:cNvSpPr txBox="1">
            <a:spLocks/>
          </p:cNvSpPr>
          <p:nvPr/>
        </p:nvSpPr>
        <p:spPr>
          <a:xfrm>
            <a:off x="251524" y="1052963"/>
            <a:ext cx="8640950" cy="365125"/>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lang="ja-JP" altLang="en-US" sz="1800"/>
              <a:t>業務フロー</a:t>
            </a:r>
            <a:endParaRPr kumimoji="1" lang="en-US" altLang="zh-TW" sz="1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20" name="スライド番号プレースホルダー 1">
            <a:extLst>
              <a:ext uri="{FF2B5EF4-FFF2-40B4-BE49-F238E27FC236}">
                <a16:creationId xmlns:a16="http://schemas.microsoft.com/office/drawing/2014/main" id="{18F30CC6-33B0-33D8-F411-900F98FE8C36}"/>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3" name="テキスト ボックス 2">
            <a:extLst>
              <a:ext uri="{FF2B5EF4-FFF2-40B4-BE49-F238E27FC236}">
                <a16:creationId xmlns:a16="http://schemas.microsoft.com/office/drawing/2014/main" id="{EF1CF8B0-BCAF-092C-E814-211E1F0C7D99}"/>
              </a:ext>
            </a:extLst>
          </p:cNvPr>
          <p:cNvSpPr txBox="1"/>
          <p:nvPr/>
        </p:nvSpPr>
        <p:spPr>
          <a:xfrm>
            <a:off x="7132849" y="941442"/>
            <a:ext cx="1939149" cy="230832"/>
          </a:xfrm>
          <a:prstGeom prst="rect">
            <a:avLst/>
          </a:prstGeom>
          <a:noFill/>
        </p:spPr>
        <p:txBody>
          <a:bodyPr wrap="square">
            <a:spAutoFit/>
          </a:body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900"/>
              <a:t>2.</a:t>
            </a:r>
            <a:r>
              <a:rPr kumimoji="1" lang="ja-JP" altLang="en-US" sz="900"/>
              <a:t>機能要件</a:t>
            </a:r>
            <a:r>
              <a:rPr kumimoji="1" lang="en-US" altLang="ja-JP" sz="900"/>
              <a:t>(1)</a:t>
            </a:r>
            <a:r>
              <a:rPr kumimoji="1" lang="ja-JP" altLang="en-US" sz="900"/>
              <a:t>機能要件一覧参照</a:t>
            </a:r>
            <a:endParaRPr kumimoji="1" lang="en-US" altLang="zh-TW"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Tree>
    <p:extLst>
      <p:ext uri="{BB962C8B-B14F-4D97-AF65-F5344CB8AC3E}">
        <p14:creationId xmlns:p14="http://schemas.microsoft.com/office/powerpoint/2010/main" val="36875524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A976F1A-1F23-8E7A-9FE8-516548FD8E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5" name="think-cell data - do not delete" hidden="1">
                        <a:extLst>
                          <a:ext uri="{FF2B5EF4-FFF2-40B4-BE49-F238E27FC236}">
                            <a16:creationId xmlns:a16="http://schemas.microsoft.com/office/drawing/2014/main" id="{BA976F1A-1F23-8E7A-9FE8-516548FD8E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BE23AE77-CEAB-36A7-A61B-D1A32051ACD2}"/>
              </a:ext>
            </a:extLst>
          </p:cNvPr>
          <p:cNvSpPr>
            <a:spLocks noGrp="1"/>
          </p:cNvSpPr>
          <p:nvPr>
            <p:ph type="title"/>
          </p:nvPr>
        </p:nvSpPr>
        <p:spPr>
          <a:xfrm>
            <a:off x="251519" y="263966"/>
            <a:ext cx="7680208" cy="523220"/>
          </a:xfrm>
        </p:spPr>
        <p:txBody>
          <a:bodyPr vert="horz"/>
          <a:lstStyle/>
          <a:p>
            <a:r>
              <a:rPr kumimoji="1" lang="ja-JP" altLang="en-US"/>
              <a:t>１．業務要件</a:t>
            </a:r>
          </a:p>
        </p:txBody>
      </p:sp>
      <p:graphicFrame>
        <p:nvGraphicFramePr>
          <p:cNvPr id="6" name="表 7">
            <a:extLst>
              <a:ext uri="{FF2B5EF4-FFF2-40B4-BE49-F238E27FC236}">
                <a16:creationId xmlns:a16="http://schemas.microsoft.com/office/drawing/2014/main" id="{CA8E2A68-9716-173E-515E-C9C3A14F91D1}"/>
              </a:ext>
            </a:extLst>
          </p:cNvPr>
          <p:cNvGraphicFramePr>
            <a:graphicFrameLocks noGrp="1"/>
          </p:cNvGraphicFramePr>
          <p:nvPr/>
        </p:nvGraphicFramePr>
        <p:xfrm>
          <a:off x="72000" y="1381063"/>
          <a:ext cx="9000000" cy="1967538"/>
        </p:xfrm>
        <a:graphic>
          <a:graphicData uri="http://schemas.openxmlformats.org/drawingml/2006/table">
            <a:tbl>
              <a:tblPr firstRow="1" bandRow="1">
                <a:tableStyleId>{5C22544A-7EE6-4342-B048-85BDC9FD1C3A}</a:tableStyleId>
              </a:tblPr>
              <a:tblGrid>
                <a:gridCol w="540000">
                  <a:extLst>
                    <a:ext uri="{9D8B030D-6E8A-4147-A177-3AD203B41FA5}">
                      <a16:colId xmlns:a16="http://schemas.microsoft.com/office/drawing/2014/main" val="301329377"/>
                    </a:ext>
                  </a:extLst>
                </a:gridCol>
                <a:gridCol w="8460000">
                  <a:extLst>
                    <a:ext uri="{9D8B030D-6E8A-4147-A177-3AD203B41FA5}">
                      <a16:colId xmlns:a16="http://schemas.microsoft.com/office/drawing/2014/main" val="1027567464"/>
                    </a:ext>
                  </a:extLst>
                </a:gridCol>
              </a:tblGrid>
              <a:tr h="126120">
                <a:tc>
                  <a:txBody>
                    <a:bodyPr/>
                    <a:lstStyle/>
                    <a:p>
                      <a:endParaRPr kumimoji="1" lang="ja-JP" altLang="en-US"/>
                    </a:p>
                  </a:txBody>
                  <a:tcPr>
                    <a:solidFill>
                      <a:schemeClr val="accent1"/>
                    </a:solidFill>
                  </a:tcPr>
                </a:tc>
                <a:tc>
                  <a:txBody>
                    <a:bodyPr/>
                    <a:lstStyle/>
                    <a:p>
                      <a:pPr algn="l"/>
                      <a:r>
                        <a:rPr kumimoji="1" lang="ja-JP" altLang="en-US"/>
                        <a:t>業務種別　　</a:t>
                      </a:r>
                      <a:r>
                        <a:rPr kumimoji="1" lang="en-US" altLang="ja-JP" sz="1800" b="1">
                          <a:solidFill>
                            <a:schemeClr val="bg1"/>
                          </a:solidFill>
                        </a:rPr>
                        <a:t>h.</a:t>
                      </a:r>
                      <a:r>
                        <a:rPr kumimoji="1" lang="ja-JP" altLang="en-US" sz="1800" b="1">
                          <a:solidFill>
                            <a:schemeClr val="bg1"/>
                          </a:solidFill>
                        </a:rPr>
                        <a:t>アナウンス</a:t>
                      </a:r>
                      <a:endParaRPr kumimoji="1" lang="en-US" altLang="ja-JP" sz="1800" b="1">
                        <a:solidFill>
                          <a:schemeClr val="bg1"/>
                        </a:solidFill>
                      </a:endParaRPr>
                    </a:p>
                  </a:txBody>
                  <a:tcPr/>
                </a:tc>
                <a:extLst>
                  <a:ext uri="{0D108BD9-81ED-4DB2-BD59-A6C34878D82A}">
                    <a16:rowId xmlns:a16="http://schemas.microsoft.com/office/drawing/2014/main" val="2838924240"/>
                  </a:ext>
                </a:extLst>
              </a:tr>
              <a:tr h="1601778">
                <a:tc>
                  <a:txBody>
                    <a:bodyPr/>
                    <a:lstStyle/>
                    <a:p>
                      <a:r>
                        <a:rPr kumimoji="1" lang="ja-JP" altLang="en-US" sz="1400" b="1">
                          <a:solidFill>
                            <a:schemeClr val="bg1"/>
                          </a:solidFill>
                        </a:rPr>
                        <a:t>利用者</a:t>
                      </a:r>
                    </a:p>
                  </a:txBody>
                  <a:tcPr vert="wordArtVertRtl" anchor="ctr" anchorCtr="1">
                    <a:solidFill>
                      <a:schemeClr val="accent1"/>
                    </a:solidFill>
                  </a:tcPr>
                </a:tc>
                <a:tc>
                  <a:txBody>
                    <a:bodyPr/>
                    <a:lstStyle/>
                    <a:p>
                      <a:endParaRPr kumimoji="1" lang="ja-JP" altLang="en-US"/>
                    </a:p>
                  </a:txBody>
                  <a:tcPr/>
                </a:tc>
                <a:extLst>
                  <a:ext uri="{0D108BD9-81ED-4DB2-BD59-A6C34878D82A}">
                    <a16:rowId xmlns:a16="http://schemas.microsoft.com/office/drawing/2014/main" val="3028206946"/>
                  </a:ext>
                </a:extLst>
              </a:tr>
            </a:tbl>
          </a:graphicData>
        </a:graphic>
      </p:graphicFrame>
      <p:sp>
        <p:nvSpPr>
          <p:cNvPr id="13" name="四角形: 角を丸くする 12">
            <a:extLst>
              <a:ext uri="{FF2B5EF4-FFF2-40B4-BE49-F238E27FC236}">
                <a16:creationId xmlns:a16="http://schemas.microsoft.com/office/drawing/2014/main" id="{22ECFFBA-584D-0208-9494-3F6A561CEFA6}"/>
              </a:ext>
            </a:extLst>
          </p:cNvPr>
          <p:cNvSpPr/>
          <p:nvPr/>
        </p:nvSpPr>
        <p:spPr>
          <a:xfrm>
            <a:off x="941337" y="1865754"/>
            <a:ext cx="1449437" cy="575567"/>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アナウンス事項発生</a:t>
            </a:r>
            <a:endParaRPr kumimoji="1" lang="en-US" altLang="ja-JP" sz="1200">
              <a:solidFill>
                <a:schemeClr val="tx1"/>
              </a:solidFill>
            </a:endParaRPr>
          </a:p>
        </p:txBody>
      </p:sp>
      <p:sp>
        <p:nvSpPr>
          <p:cNvPr id="14" name="正方形/長方形 13">
            <a:extLst>
              <a:ext uri="{FF2B5EF4-FFF2-40B4-BE49-F238E27FC236}">
                <a16:creationId xmlns:a16="http://schemas.microsoft.com/office/drawing/2014/main" id="{CA212066-292B-6811-E469-469059AAEFED}"/>
              </a:ext>
            </a:extLst>
          </p:cNvPr>
          <p:cNvSpPr/>
          <p:nvPr/>
        </p:nvSpPr>
        <p:spPr>
          <a:xfrm>
            <a:off x="3238285" y="1901717"/>
            <a:ext cx="1029616" cy="503641"/>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資料</a:t>
            </a:r>
            <a:r>
              <a:rPr kumimoji="1" lang="en-US" altLang="ja-JP" sz="1100" b="0" i="0" u="none" strike="noStrike" kern="1200" cap="none" spc="0" normalizeH="0" baseline="0" noProof="0">
                <a:ln>
                  <a:noFill/>
                </a:ln>
                <a:solidFill>
                  <a:prstClr val="black"/>
                </a:solidFill>
                <a:effectLst/>
                <a:uLnTx/>
                <a:uFillTx/>
                <a:latin typeface="Yu Gothic UI"/>
                <a:ea typeface="Yu Gothic UI"/>
                <a:cs typeface="+mn-cs"/>
              </a:rPr>
              <a:t>/</a:t>
            </a: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お知らせ</a:t>
            </a:r>
            <a:br>
              <a:rPr kumimoji="1" lang="en-US" altLang="ja-JP" sz="1100" b="0" i="0" u="none" strike="noStrike" kern="1200" cap="none" spc="0" normalizeH="0" baseline="0" noProof="0">
                <a:ln>
                  <a:noFill/>
                </a:ln>
                <a:solidFill>
                  <a:prstClr val="black"/>
                </a:solidFill>
                <a:effectLst/>
                <a:uLnTx/>
                <a:uFillTx/>
                <a:latin typeface="Yu Gothic UI"/>
                <a:ea typeface="Yu Gothic UI"/>
                <a:cs typeface="+mn-cs"/>
              </a:rPr>
            </a:b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作成</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16" name="直線矢印コネクタ 15">
            <a:extLst>
              <a:ext uri="{FF2B5EF4-FFF2-40B4-BE49-F238E27FC236}">
                <a16:creationId xmlns:a16="http://schemas.microsoft.com/office/drawing/2014/main" id="{A5E3E74D-35D3-6098-14C3-7B354C66E604}"/>
              </a:ext>
            </a:extLst>
          </p:cNvPr>
          <p:cNvCxnSpPr>
            <a:cxnSpLocks/>
            <a:stCxn id="13" idx="3"/>
            <a:endCxn id="14" idx="1"/>
          </p:cNvCxnSpPr>
          <p:nvPr/>
        </p:nvCxnSpPr>
        <p:spPr>
          <a:xfrm>
            <a:off x="2390774" y="2153538"/>
            <a:ext cx="84751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四角形: 角を丸くする 16">
            <a:extLst>
              <a:ext uri="{FF2B5EF4-FFF2-40B4-BE49-F238E27FC236}">
                <a16:creationId xmlns:a16="http://schemas.microsoft.com/office/drawing/2014/main" id="{B2166DA8-7DFA-3949-3211-38F2350F65BE}"/>
              </a:ext>
            </a:extLst>
          </p:cNvPr>
          <p:cNvSpPr/>
          <p:nvPr/>
        </p:nvSpPr>
        <p:spPr>
          <a:xfrm>
            <a:off x="5771453" y="1863627"/>
            <a:ext cx="677909" cy="579822"/>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完了</a:t>
            </a:r>
          </a:p>
        </p:txBody>
      </p:sp>
      <p:cxnSp>
        <p:nvCxnSpPr>
          <p:cNvPr id="19" name="直線矢印コネクタ 18">
            <a:extLst>
              <a:ext uri="{FF2B5EF4-FFF2-40B4-BE49-F238E27FC236}">
                <a16:creationId xmlns:a16="http://schemas.microsoft.com/office/drawing/2014/main" id="{65522D4B-AF85-33C0-8178-FA89C130C70B}"/>
              </a:ext>
            </a:extLst>
          </p:cNvPr>
          <p:cNvCxnSpPr>
            <a:cxnSpLocks/>
            <a:stCxn id="14" idx="3"/>
          </p:cNvCxnSpPr>
          <p:nvPr/>
        </p:nvCxnSpPr>
        <p:spPr>
          <a:xfrm flipV="1">
            <a:off x="4267901" y="2153537"/>
            <a:ext cx="1503552"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F30934AE-775E-EC80-360E-26A7EC7957D5}"/>
              </a:ext>
            </a:extLst>
          </p:cNvPr>
          <p:cNvSpPr txBox="1"/>
          <p:nvPr/>
        </p:nvSpPr>
        <p:spPr>
          <a:xfrm>
            <a:off x="6041413" y="941442"/>
            <a:ext cx="622066" cy="230832"/>
          </a:xfrm>
          <a:prstGeom prst="rect">
            <a:avLst/>
          </a:prstGeom>
          <a:noFill/>
        </p:spPr>
        <p:txBody>
          <a:bodyPr wrap="square">
            <a:spAutoFit/>
          </a:bodyPr>
          <a:lstStyle/>
          <a:p>
            <a:r>
              <a:rPr kumimoji="1" lang="ja-JP" altLang="en-US" sz="900">
                <a:solidFill>
                  <a:schemeClr val="tx1"/>
                </a:solidFill>
              </a:rPr>
              <a:t>凡例：</a:t>
            </a:r>
            <a:endParaRPr kumimoji="1" lang="en-US" altLang="ja-JP" sz="900">
              <a:solidFill>
                <a:schemeClr val="tx1"/>
              </a:solidFill>
            </a:endParaRPr>
          </a:p>
        </p:txBody>
      </p:sp>
      <p:cxnSp>
        <p:nvCxnSpPr>
          <p:cNvPr id="7" name="直線コネクタ 6">
            <a:extLst>
              <a:ext uri="{FF2B5EF4-FFF2-40B4-BE49-F238E27FC236}">
                <a16:creationId xmlns:a16="http://schemas.microsoft.com/office/drawing/2014/main" id="{0F7DAB97-453E-B2E3-670C-DF6AF038468E}"/>
              </a:ext>
            </a:extLst>
          </p:cNvPr>
          <p:cNvCxnSpPr>
            <a:cxnSpLocks/>
          </p:cNvCxnSpPr>
          <p:nvPr/>
        </p:nvCxnSpPr>
        <p:spPr>
          <a:xfrm>
            <a:off x="6663479" y="1060541"/>
            <a:ext cx="469371" cy="0"/>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EABC9DAE-E63A-803F-B7F5-ED9D2958CC06}"/>
              </a:ext>
            </a:extLst>
          </p:cNvPr>
          <p:cNvSpPr txBox="1"/>
          <p:nvPr/>
        </p:nvSpPr>
        <p:spPr>
          <a:xfrm>
            <a:off x="6112932" y="1381063"/>
            <a:ext cx="3097382" cy="338554"/>
          </a:xfrm>
          <a:prstGeom prst="rect">
            <a:avLst/>
          </a:prstGeom>
          <a:noFill/>
        </p:spPr>
        <p:txBody>
          <a:bodyPr wrap="square">
            <a:spAutoFit/>
          </a:bodyPr>
          <a:lstStyle/>
          <a:p>
            <a:r>
              <a:rPr lang="en-US" altLang="ja-JP" sz="800"/>
              <a:t>※</a:t>
            </a:r>
            <a:r>
              <a:rPr lang="ja-JP" altLang="en-US" sz="800"/>
              <a:t>本</a:t>
            </a:r>
            <a:r>
              <a:rPr lang="en-US" altLang="ja-JP" sz="800"/>
              <a:t>WF</a:t>
            </a:r>
            <a:r>
              <a:rPr lang="ja-JP" altLang="en-US" sz="800"/>
              <a:t>は機能の全体感を示すために記載しています</a:t>
            </a:r>
            <a:endParaRPr lang="en-US" altLang="ja-JP" sz="800"/>
          </a:p>
          <a:p>
            <a:r>
              <a:rPr kumimoji="1" lang="ja-JP" altLang="en-US" sz="800">
                <a:solidFill>
                  <a:schemeClr val="tx1"/>
                </a:solidFill>
              </a:rPr>
              <a:t>　分岐としての差戻は機能一覧に記載しています</a:t>
            </a:r>
            <a:endParaRPr kumimoji="1" lang="en-US" altLang="ja-JP" sz="800">
              <a:solidFill>
                <a:schemeClr val="tx1"/>
              </a:solidFill>
            </a:endParaRPr>
          </a:p>
        </p:txBody>
      </p:sp>
      <p:sp>
        <p:nvSpPr>
          <p:cNvPr id="10" name="テキスト プレースホルダー 4">
            <a:extLst>
              <a:ext uri="{FF2B5EF4-FFF2-40B4-BE49-F238E27FC236}">
                <a16:creationId xmlns:a16="http://schemas.microsoft.com/office/drawing/2014/main" id="{0D4DFB03-3533-5923-148A-D585371E1192}"/>
              </a:ext>
            </a:extLst>
          </p:cNvPr>
          <p:cNvSpPr txBox="1">
            <a:spLocks/>
          </p:cNvSpPr>
          <p:nvPr/>
        </p:nvSpPr>
        <p:spPr>
          <a:xfrm>
            <a:off x="251524" y="1052963"/>
            <a:ext cx="8640950" cy="365125"/>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lang="ja-JP" altLang="en-US" sz="1800"/>
              <a:t>業務フロー</a:t>
            </a:r>
            <a:endParaRPr kumimoji="1" lang="en-US" altLang="zh-TW" sz="1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11" name="スライド番号プレースホルダー 1">
            <a:extLst>
              <a:ext uri="{FF2B5EF4-FFF2-40B4-BE49-F238E27FC236}">
                <a16:creationId xmlns:a16="http://schemas.microsoft.com/office/drawing/2014/main" id="{108747B1-4FAE-98AA-5AF5-071958A8A583}"/>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9" name="テキスト ボックス 8">
            <a:extLst>
              <a:ext uri="{FF2B5EF4-FFF2-40B4-BE49-F238E27FC236}">
                <a16:creationId xmlns:a16="http://schemas.microsoft.com/office/drawing/2014/main" id="{189DF1B8-BE17-6D08-DA8A-ED9D12A82020}"/>
              </a:ext>
            </a:extLst>
          </p:cNvPr>
          <p:cNvSpPr txBox="1"/>
          <p:nvPr/>
        </p:nvSpPr>
        <p:spPr>
          <a:xfrm>
            <a:off x="7132849" y="941442"/>
            <a:ext cx="1939149" cy="230832"/>
          </a:xfrm>
          <a:prstGeom prst="rect">
            <a:avLst/>
          </a:prstGeom>
          <a:noFill/>
        </p:spPr>
        <p:txBody>
          <a:bodyPr wrap="square">
            <a:spAutoFit/>
          </a:body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900"/>
              <a:t>2.</a:t>
            </a:r>
            <a:r>
              <a:rPr kumimoji="1" lang="ja-JP" altLang="en-US" sz="900"/>
              <a:t>機能要件</a:t>
            </a:r>
            <a:r>
              <a:rPr kumimoji="1" lang="en-US" altLang="ja-JP" sz="900"/>
              <a:t>(1)</a:t>
            </a:r>
            <a:r>
              <a:rPr kumimoji="1" lang="ja-JP" altLang="en-US" sz="900"/>
              <a:t>機能要件一覧参照</a:t>
            </a:r>
            <a:endParaRPr kumimoji="1" lang="en-US" altLang="zh-TW"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Tree>
    <p:extLst>
      <p:ext uri="{BB962C8B-B14F-4D97-AF65-F5344CB8AC3E}">
        <p14:creationId xmlns:p14="http://schemas.microsoft.com/office/powerpoint/2010/main" val="16422347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A976F1A-1F23-8E7A-9FE8-516548FD8E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5" name="think-cell data - do not delete" hidden="1">
                        <a:extLst>
                          <a:ext uri="{FF2B5EF4-FFF2-40B4-BE49-F238E27FC236}">
                            <a16:creationId xmlns:a16="http://schemas.microsoft.com/office/drawing/2014/main" id="{BA976F1A-1F23-8E7A-9FE8-516548FD8E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BE23AE77-CEAB-36A7-A61B-D1A32051ACD2}"/>
              </a:ext>
            </a:extLst>
          </p:cNvPr>
          <p:cNvSpPr>
            <a:spLocks noGrp="1"/>
          </p:cNvSpPr>
          <p:nvPr>
            <p:ph type="title"/>
          </p:nvPr>
        </p:nvSpPr>
        <p:spPr>
          <a:xfrm>
            <a:off x="251519" y="263966"/>
            <a:ext cx="7680208" cy="523220"/>
          </a:xfrm>
        </p:spPr>
        <p:txBody>
          <a:bodyPr vert="horz"/>
          <a:lstStyle/>
          <a:p>
            <a:r>
              <a:rPr kumimoji="1" lang="ja-JP" altLang="en-US"/>
              <a:t>１．業務要件</a:t>
            </a:r>
          </a:p>
        </p:txBody>
      </p:sp>
      <p:graphicFrame>
        <p:nvGraphicFramePr>
          <p:cNvPr id="6" name="表 7">
            <a:extLst>
              <a:ext uri="{FF2B5EF4-FFF2-40B4-BE49-F238E27FC236}">
                <a16:creationId xmlns:a16="http://schemas.microsoft.com/office/drawing/2014/main" id="{CA8E2A68-9716-173E-515E-C9C3A14F91D1}"/>
              </a:ext>
            </a:extLst>
          </p:cNvPr>
          <p:cNvGraphicFramePr>
            <a:graphicFrameLocks noGrp="1"/>
          </p:cNvGraphicFramePr>
          <p:nvPr/>
        </p:nvGraphicFramePr>
        <p:xfrm>
          <a:off x="72000" y="1381062"/>
          <a:ext cx="9000000" cy="2645665"/>
        </p:xfrm>
        <a:graphic>
          <a:graphicData uri="http://schemas.openxmlformats.org/drawingml/2006/table">
            <a:tbl>
              <a:tblPr firstRow="1" bandRow="1">
                <a:tableStyleId>{5C22544A-7EE6-4342-B048-85BDC9FD1C3A}</a:tableStyleId>
              </a:tblPr>
              <a:tblGrid>
                <a:gridCol w="540000">
                  <a:extLst>
                    <a:ext uri="{9D8B030D-6E8A-4147-A177-3AD203B41FA5}">
                      <a16:colId xmlns:a16="http://schemas.microsoft.com/office/drawing/2014/main" val="301329377"/>
                    </a:ext>
                  </a:extLst>
                </a:gridCol>
                <a:gridCol w="8460000">
                  <a:extLst>
                    <a:ext uri="{9D8B030D-6E8A-4147-A177-3AD203B41FA5}">
                      <a16:colId xmlns:a16="http://schemas.microsoft.com/office/drawing/2014/main" val="1027567464"/>
                    </a:ext>
                  </a:extLst>
                </a:gridCol>
              </a:tblGrid>
              <a:tr h="179513">
                <a:tc>
                  <a:txBody>
                    <a:bodyPr/>
                    <a:lstStyle/>
                    <a:p>
                      <a:endParaRPr kumimoji="1" lang="ja-JP" altLang="en-US"/>
                    </a:p>
                  </a:txBody>
                  <a:tcPr>
                    <a:solidFill>
                      <a:schemeClr val="accent1"/>
                    </a:solidFill>
                  </a:tcPr>
                </a:tc>
                <a:tc>
                  <a:txBody>
                    <a:bodyPr/>
                    <a:lstStyle/>
                    <a:p>
                      <a:pPr algn="l"/>
                      <a:r>
                        <a:rPr kumimoji="1" lang="ja-JP" altLang="en-US"/>
                        <a:t>業務種別　　</a:t>
                      </a:r>
                      <a:r>
                        <a:rPr kumimoji="1" lang="en-US" altLang="ja-JP" sz="1800" b="1" err="1">
                          <a:solidFill>
                            <a:schemeClr val="bg1"/>
                          </a:solidFill>
                        </a:rPr>
                        <a:t>i</a:t>
                      </a:r>
                      <a:r>
                        <a:rPr kumimoji="1" lang="en-US" altLang="ja-JP" sz="1800" b="1">
                          <a:solidFill>
                            <a:schemeClr val="bg1"/>
                          </a:solidFill>
                        </a:rPr>
                        <a:t>.</a:t>
                      </a:r>
                      <a:r>
                        <a:rPr kumimoji="1" lang="ja-JP" altLang="en-US" sz="1800" b="1">
                          <a:solidFill>
                            <a:schemeClr val="bg1"/>
                          </a:solidFill>
                        </a:rPr>
                        <a:t>文書閲覧</a:t>
                      </a:r>
                      <a:endParaRPr kumimoji="1" lang="en-US" altLang="ja-JP" sz="1800" b="1">
                        <a:solidFill>
                          <a:schemeClr val="bg1"/>
                        </a:solidFill>
                      </a:endParaRPr>
                    </a:p>
                  </a:txBody>
                  <a:tcPr/>
                </a:tc>
                <a:extLst>
                  <a:ext uri="{0D108BD9-81ED-4DB2-BD59-A6C34878D82A}">
                    <a16:rowId xmlns:a16="http://schemas.microsoft.com/office/drawing/2014/main" val="2838924240"/>
                  </a:ext>
                </a:extLst>
              </a:tr>
              <a:tr h="2279905">
                <a:tc>
                  <a:txBody>
                    <a:bodyPr/>
                    <a:lstStyle/>
                    <a:p>
                      <a:r>
                        <a:rPr kumimoji="1" lang="ja-JP" altLang="en-US" sz="1400" b="1">
                          <a:solidFill>
                            <a:schemeClr val="bg1"/>
                          </a:solidFill>
                        </a:rPr>
                        <a:t>利用者</a:t>
                      </a:r>
                    </a:p>
                  </a:txBody>
                  <a:tcPr vert="wordArtVertRtl" anchor="ctr" anchorCtr="1">
                    <a:solidFill>
                      <a:schemeClr val="accent1"/>
                    </a:solidFill>
                  </a:tcPr>
                </a:tc>
                <a:tc>
                  <a:txBody>
                    <a:bodyPr/>
                    <a:lstStyle/>
                    <a:p>
                      <a:endParaRPr kumimoji="1" lang="ja-JP" altLang="en-US"/>
                    </a:p>
                  </a:txBody>
                  <a:tcPr/>
                </a:tc>
                <a:extLst>
                  <a:ext uri="{0D108BD9-81ED-4DB2-BD59-A6C34878D82A}">
                    <a16:rowId xmlns:a16="http://schemas.microsoft.com/office/drawing/2014/main" val="3028206946"/>
                  </a:ext>
                </a:extLst>
              </a:tr>
            </a:tbl>
          </a:graphicData>
        </a:graphic>
      </p:graphicFrame>
      <p:sp>
        <p:nvSpPr>
          <p:cNvPr id="13" name="四角形: 角を丸くする 12">
            <a:extLst>
              <a:ext uri="{FF2B5EF4-FFF2-40B4-BE49-F238E27FC236}">
                <a16:creationId xmlns:a16="http://schemas.microsoft.com/office/drawing/2014/main" id="{22ECFFBA-584D-0208-9494-3F6A561CEFA6}"/>
              </a:ext>
            </a:extLst>
          </p:cNvPr>
          <p:cNvSpPr/>
          <p:nvPr/>
        </p:nvSpPr>
        <p:spPr>
          <a:xfrm>
            <a:off x="941337" y="1865754"/>
            <a:ext cx="1449437" cy="575567"/>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閲覧業務発生</a:t>
            </a:r>
            <a:endParaRPr kumimoji="1" lang="en-US" altLang="ja-JP" sz="1200">
              <a:solidFill>
                <a:schemeClr val="tx1"/>
              </a:solidFill>
            </a:endParaRPr>
          </a:p>
        </p:txBody>
      </p:sp>
      <p:cxnSp>
        <p:nvCxnSpPr>
          <p:cNvPr id="16" name="直線矢印コネクタ 15">
            <a:extLst>
              <a:ext uri="{FF2B5EF4-FFF2-40B4-BE49-F238E27FC236}">
                <a16:creationId xmlns:a16="http://schemas.microsoft.com/office/drawing/2014/main" id="{A5E3E74D-35D3-6098-14C3-7B354C66E604}"/>
              </a:ext>
            </a:extLst>
          </p:cNvPr>
          <p:cNvCxnSpPr>
            <a:cxnSpLocks/>
            <a:stCxn id="13" idx="3"/>
            <a:endCxn id="14" idx="1"/>
          </p:cNvCxnSpPr>
          <p:nvPr/>
        </p:nvCxnSpPr>
        <p:spPr>
          <a:xfrm flipV="1">
            <a:off x="2390774" y="2153537"/>
            <a:ext cx="862751"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CA212066-292B-6811-E469-469059AAEFED}"/>
              </a:ext>
            </a:extLst>
          </p:cNvPr>
          <p:cNvSpPr/>
          <p:nvPr/>
        </p:nvSpPr>
        <p:spPr>
          <a:xfrm>
            <a:off x="3253525" y="1945421"/>
            <a:ext cx="1029616" cy="416232"/>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prstClr val="black"/>
                </a:solidFill>
                <a:latin typeface="Yu Gothic UI"/>
                <a:ea typeface="Yu Gothic UI"/>
              </a:rPr>
              <a:t>文書</a:t>
            </a: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閲覧</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17" name="四角形: 角を丸くする 16">
            <a:extLst>
              <a:ext uri="{FF2B5EF4-FFF2-40B4-BE49-F238E27FC236}">
                <a16:creationId xmlns:a16="http://schemas.microsoft.com/office/drawing/2014/main" id="{B2166DA8-7DFA-3949-3211-38F2350F65BE}"/>
              </a:ext>
            </a:extLst>
          </p:cNvPr>
          <p:cNvSpPr/>
          <p:nvPr/>
        </p:nvSpPr>
        <p:spPr>
          <a:xfrm>
            <a:off x="5786693" y="1913942"/>
            <a:ext cx="677909" cy="479192"/>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完了</a:t>
            </a:r>
          </a:p>
        </p:txBody>
      </p:sp>
      <p:cxnSp>
        <p:nvCxnSpPr>
          <p:cNvPr id="21" name="コネクタ: カギ線 20">
            <a:extLst>
              <a:ext uri="{FF2B5EF4-FFF2-40B4-BE49-F238E27FC236}">
                <a16:creationId xmlns:a16="http://schemas.microsoft.com/office/drawing/2014/main" id="{E43FDB96-289D-92F0-768B-ECD6B6AE352F}"/>
              </a:ext>
            </a:extLst>
          </p:cNvPr>
          <p:cNvCxnSpPr>
            <a:cxnSpLocks/>
            <a:stCxn id="13" idx="3"/>
          </p:cNvCxnSpPr>
          <p:nvPr/>
        </p:nvCxnSpPr>
        <p:spPr>
          <a:xfrm>
            <a:off x="2390774" y="2153538"/>
            <a:ext cx="862751" cy="62811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49" name="正方形/長方形 48">
            <a:extLst>
              <a:ext uri="{FF2B5EF4-FFF2-40B4-BE49-F238E27FC236}">
                <a16:creationId xmlns:a16="http://schemas.microsoft.com/office/drawing/2014/main" id="{77901E4F-8FE2-EEB7-D6B6-25B86A1FD19A}"/>
              </a:ext>
            </a:extLst>
          </p:cNvPr>
          <p:cNvSpPr/>
          <p:nvPr/>
        </p:nvSpPr>
        <p:spPr>
          <a:xfrm>
            <a:off x="3253525" y="2566096"/>
            <a:ext cx="1029616" cy="416232"/>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ビュー設定</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50" name="四角形: 角を丸くする 49">
            <a:extLst>
              <a:ext uri="{FF2B5EF4-FFF2-40B4-BE49-F238E27FC236}">
                <a16:creationId xmlns:a16="http://schemas.microsoft.com/office/drawing/2014/main" id="{56A71243-B9E5-47BA-C432-E34EAC53DB6B}"/>
              </a:ext>
            </a:extLst>
          </p:cNvPr>
          <p:cNvSpPr/>
          <p:nvPr/>
        </p:nvSpPr>
        <p:spPr>
          <a:xfrm>
            <a:off x="5786693" y="2534616"/>
            <a:ext cx="677909" cy="479192"/>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完了</a:t>
            </a:r>
          </a:p>
        </p:txBody>
      </p:sp>
      <p:cxnSp>
        <p:nvCxnSpPr>
          <p:cNvPr id="51" name="直線矢印コネクタ 50">
            <a:extLst>
              <a:ext uri="{FF2B5EF4-FFF2-40B4-BE49-F238E27FC236}">
                <a16:creationId xmlns:a16="http://schemas.microsoft.com/office/drawing/2014/main" id="{F982A466-3186-709B-3D44-9427C7315BAD}"/>
              </a:ext>
            </a:extLst>
          </p:cNvPr>
          <p:cNvCxnSpPr>
            <a:cxnSpLocks/>
          </p:cNvCxnSpPr>
          <p:nvPr/>
        </p:nvCxnSpPr>
        <p:spPr>
          <a:xfrm>
            <a:off x="4283141" y="2774211"/>
            <a:ext cx="150355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 name="直線矢印コネクタ 1">
            <a:extLst>
              <a:ext uri="{FF2B5EF4-FFF2-40B4-BE49-F238E27FC236}">
                <a16:creationId xmlns:a16="http://schemas.microsoft.com/office/drawing/2014/main" id="{CFE2CAA4-33BB-AC41-195E-C7FD04AF5E08}"/>
              </a:ext>
            </a:extLst>
          </p:cNvPr>
          <p:cNvCxnSpPr>
            <a:cxnSpLocks/>
            <a:stCxn id="14" idx="3"/>
            <a:endCxn id="17" idx="1"/>
          </p:cNvCxnSpPr>
          <p:nvPr/>
        </p:nvCxnSpPr>
        <p:spPr>
          <a:xfrm>
            <a:off x="4283141" y="2153537"/>
            <a:ext cx="1503552"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349B23A-947E-F60C-B935-BB3417C6A65B}"/>
              </a:ext>
            </a:extLst>
          </p:cNvPr>
          <p:cNvSpPr txBox="1"/>
          <p:nvPr/>
        </p:nvSpPr>
        <p:spPr>
          <a:xfrm>
            <a:off x="6041413" y="941442"/>
            <a:ext cx="622066" cy="230832"/>
          </a:xfrm>
          <a:prstGeom prst="rect">
            <a:avLst/>
          </a:prstGeom>
          <a:noFill/>
        </p:spPr>
        <p:txBody>
          <a:bodyPr wrap="square">
            <a:spAutoFit/>
          </a:bodyPr>
          <a:lstStyle/>
          <a:p>
            <a:r>
              <a:rPr kumimoji="1" lang="ja-JP" altLang="en-US" sz="900">
                <a:solidFill>
                  <a:schemeClr val="tx1"/>
                </a:solidFill>
              </a:rPr>
              <a:t>凡例：</a:t>
            </a:r>
            <a:endParaRPr kumimoji="1" lang="en-US" altLang="ja-JP" sz="900">
              <a:solidFill>
                <a:schemeClr val="tx1"/>
              </a:solidFill>
            </a:endParaRPr>
          </a:p>
        </p:txBody>
      </p:sp>
      <p:cxnSp>
        <p:nvCxnSpPr>
          <p:cNvPr id="10" name="直線コネクタ 9">
            <a:extLst>
              <a:ext uri="{FF2B5EF4-FFF2-40B4-BE49-F238E27FC236}">
                <a16:creationId xmlns:a16="http://schemas.microsoft.com/office/drawing/2014/main" id="{3E72065D-4170-CC83-0673-4E70E3F03E80}"/>
              </a:ext>
            </a:extLst>
          </p:cNvPr>
          <p:cNvCxnSpPr>
            <a:cxnSpLocks/>
          </p:cNvCxnSpPr>
          <p:nvPr/>
        </p:nvCxnSpPr>
        <p:spPr>
          <a:xfrm>
            <a:off x="6663479" y="1060541"/>
            <a:ext cx="469371" cy="0"/>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205B3E39-6C57-7092-F528-E206924937F2}"/>
              </a:ext>
            </a:extLst>
          </p:cNvPr>
          <p:cNvSpPr txBox="1"/>
          <p:nvPr/>
        </p:nvSpPr>
        <p:spPr>
          <a:xfrm>
            <a:off x="6112932" y="1381063"/>
            <a:ext cx="3097382" cy="338554"/>
          </a:xfrm>
          <a:prstGeom prst="rect">
            <a:avLst/>
          </a:prstGeom>
          <a:noFill/>
        </p:spPr>
        <p:txBody>
          <a:bodyPr wrap="square">
            <a:spAutoFit/>
          </a:bodyPr>
          <a:lstStyle/>
          <a:p>
            <a:r>
              <a:rPr lang="en-US" altLang="ja-JP" sz="800"/>
              <a:t>※</a:t>
            </a:r>
            <a:r>
              <a:rPr lang="ja-JP" altLang="en-US" sz="800"/>
              <a:t>本</a:t>
            </a:r>
            <a:r>
              <a:rPr lang="en-US" altLang="ja-JP" sz="800"/>
              <a:t>WF</a:t>
            </a:r>
            <a:r>
              <a:rPr lang="ja-JP" altLang="en-US" sz="800"/>
              <a:t>は機能の全体感を示すために記載しています</a:t>
            </a:r>
            <a:endParaRPr lang="en-US" altLang="ja-JP" sz="800"/>
          </a:p>
          <a:p>
            <a:r>
              <a:rPr kumimoji="1" lang="ja-JP" altLang="en-US" sz="800">
                <a:solidFill>
                  <a:schemeClr val="tx1"/>
                </a:solidFill>
              </a:rPr>
              <a:t>　分岐としての差戻は機能一覧に記載しています</a:t>
            </a:r>
            <a:endParaRPr kumimoji="1" lang="en-US" altLang="ja-JP" sz="800">
              <a:solidFill>
                <a:schemeClr val="tx1"/>
              </a:solidFill>
            </a:endParaRPr>
          </a:p>
        </p:txBody>
      </p:sp>
      <p:sp>
        <p:nvSpPr>
          <p:cNvPr id="11" name="テキスト プレースホルダー 4">
            <a:extLst>
              <a:ext uri="{FF2B5EF4-FFF2-40B4-BE49-F238E27FC236}">
                <a16:creationId xmlns:a16="http://schemas.microsoft.com/office/drawing/2014/main" id="{C6D5388C-4C69-DCB8-0FF1-EE8162C08CD7}"/>
              </a:ext>
            </a:extLst>
          </p:cNvPr>
          <p:cNvSpPr txBox="1">
            <a:spLocks/>
          </p:cNvSpPr>
          <p:nvPr/>
        </p:nvSpPr>
        <p:spPr>
          <a:xfrm>
            <a:off x="251524" y="1052963"/>
            <a:ext cx="8640950" cy="365125"/>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lang="ja-JP" altLang="en-US" sz="1800"/>
              <a:t>業務フロー</a:t>
            </a:r>
            <a:endParaRPr kumimoji="1" lang="en-US" altLang="zh-TW" sz="1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12" name="スライド番号プレースホルダー 1">
            <a:extLst>
              <a:ext uri="{FF2B5EF4-FFF2-40B4-BE49-F238E27FC236}">
                <a16:creationId xmlns:a16="http://schemas.microsoft.com/office/drawing/2014/main" id="{C433487A-98FA-8D80-D088-BB0D48518FA1}"/>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7" name="テキスト ボックス 6">
            <a:extLst>
              <a:ext uri="{FF2B5EF4-FFF2-40B4-BE49-F238E27FC236}">
                <a16:creationId xmlns:a16="http://schemas.microsoft.com/office/drawing/2014/main" id="{41290CB5-F90F-60C6-D36C-C218E9169F4A}"/>
              </a:ext>
            </a:extLst>
          </p:cNvPr>
          <p:cNvSpPr txBox="1"/>
          <p:nvPr/>
        </p:nvSpPr>
        <p:spPr>
          <a:xfrm>
            <a:off x="7132849" y="941442"/>
            <a:ext cx="1939149" cy="230832"/>
          </a:xfrm>
          <a:prstGeom prst="rect">
            <a:avLst/>
          </a:prstGeom>
          <a:noFill/>
        </p:spPr>
        <p:txBody>
          <a:bodyPr wrap="square">
            <a:spAutoFit/>
          </a:body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900"/>
              <a:t>2.</a:t>
            </a:r>
            <a:r>
              <a:rPr kumimoji="1" lang="ja-JP" altLang="en-US" sz="900"/>
              <a:t>機能要件</a:t>
            </a:r>
            <a:r>
              <a:rPr kumimoji="1" lang="en-US" altLang="ja-JP" sz="900"/>
              <a:t>(1)</a:t>
            </a:r>
            <a:r>
              <a:rPr kumimoji="1" lang="ja-JP" altLang="en-US" sz="900"/>
              <a:t>機能要件一覧参照</a:t>
            </a:r>
            <a:endParaRPr kumimoji="1" lang="en-US" altLang="zh-TW"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Tree>
    <p:extLst>
      <p:ext uri="{BB962C8B-B14F-4D97-AF65-F5344CB8AC3E}">
        <p14:creationId xmlns:p14="http://schemas.microsoft.com/office/powerpoint/2010/main" val="37344692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A976F1A-1F23-8E7A-9FE8-516548FD8E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5" name="think-cell data - do not delete" hidden="1">
                        <a:extLst>
                          <a:ext uri="{FF2B5EF4-FFF2-40B4-BE49-F238E27FC236}">
                            <a16:creationId xmlns:a16="http://schemas.microsoft.com/office/drawing/2014/main" id="{BA976F1A-1F23-8E7A-9FE8-516548FD8E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BE23AE77-CEAB-36A7-A61B-D1A32051ACD2}"/>
              </a:ext>
            </a:extLst>
          </p:cNvPr>
          <p:cNvSpPr>
            <a:spLocks noGrp="1"/>
          </p:cNvSpPr>
          <p:nvPr>
            <p:ph type="title"/>
          </p:nvPr>
        </p:nvSpPr>
        <p:spPr>
          <a:xfrm>
            <a:off x="251519" y="263966"/>
            <a:ext cx="7680208" cy="523220"/>
          </a:xfrm>
        </p:spPr>
        <p:txBody>
          <a:bodyPr vert="horz"/>
          <a:lstStyle/>
          <a:p>
            <a:r>
              <a:rPr kumimoji="1" lang="ja-JP" altLang="en-US"/>
              <a:t>１．業務要件</a:t>
            </a:r>
          </a:p>
        </p:txBody>
      </p:sp>
      <p:graphicFrame>
        <p:nvGraphicFramePr>
          <p:cNvPr id="6" name="表 7">
            <a:extLst>
              <a:ext uri="{FF2B5EF4-FFF2-40B4-BE49-F238E27FC236}">
                <a16:creationId xmlns:a16="http://schemas.microsoft.com/office/drawing/2014/main" id="{CA8E2A68-9716-173E-515E-C9C3A14F91D1}"/>
              </a:ext>
            </a:extLst>
          </p:cNvPr>
          <p:cNvGraphicFramePr>
            <a:graphicFrameLocks noGrp="1"/>
          </p:cNvGraphicFramePr>
          <p:nvPr/>
        </p:nvGraphicFramePr>
        <p:xfrm>
          <a:off x="72000" y="1381062"/>
          <a:ext cx="9000000" cy="4055320"/>
        </p:xfrm>
        <a:graphic>
          <a:graphicData uri="http://schemas.openxmlformats.org/drawingml/2006/table">
            <a:tbl>
              <a:tblPr firstRow="1" bandRow="1">
                <a:tableStyleId>{5C22544A-7EE6-4342-B048-85BDC9FD1C3A}</a:tableStyleId>
              </a:tblPr>
              <a:tblGrid>
                <a:gridCol w="540000">
                  <a:extLst>
                    <a:ext uri="{9D8B030D-6E8A-4147-A177-3AD203B41FA5}">
                      <a16:colId xmlns:a16="http://schemas.microsoft.com/office/drawing/2014/main" val="301329377"/>
                    </a:ext>
                  </a:extLst>
                </a:gridCol>
                <a:gridCol w="8460000">
                  <a:extLst>
                    <a:ext uri="{9D8B030D-6E8A-4147-A177-3AD203B41FA5}">
                      <a16:colId xmlns:a16="http://schemas.microsoft.com/office/drawing/2014/main" val="1027567464"/>
                    </a:ext>
                  </a:extLst>
                </a:gridCol>
              </a:tblGrid>
              <a:tr h="348678">
                <a:tc>
                  <a:txBody>
                    <a:bodyPr/>
                    <a:lstStyle/>
                    <a:p>
                      <a:endParaRPr kumimoji="1" lang="ja-JP" altLang="en-US"/>
                    </a:p>
                  </a:txBody>
                  <a:tcPr>
                    <a:solidFill>
                      <a:schemeClr val="accent1"/>
                    </a:solidFill>
                  </a:tcPr>
                </a:tc>
                <a:tc>
                  <a:txBody>
                    <a:bodyPr/>
                    <a:lstStyle/>
                    <a:p>
                      <a:pPr algn="l"/>
                      <a:r>
                        <a:rPr kumimoji="1" lang="ja-JP" altLang="en-US"/>
                        <a:t>業務種別　　</a:t>
                      </a:r>
                      <a:r>
                        <a:rPr kumimoji="1" lang="en-US" altLang="ja-JP" sz="1800" b="1">
                          <a:solidFill>
                            <a:schemeClr val="bg1"/>
                          </a:solidFill>
                        </a:rPr>
                        <a:t>j.</a:t>
                      </a:r>
                      <a:r>
                        <a:rPr kumimoji="1" lang="ja-JP" altLang="en-US" sz="1800" b="1">
                          <a:solidFill>
                            <a:schemeClr val="bg1"/>
                          </a:solidFill>
                        </a:rPr>
                        <a:t>文書廃棄</a:t>
                      </a:r>
                      <a:endParaRPr kumimoji="1" lang="en-US" altLang="ja-JP" sz="1800" b="1">
                        <a:solidFill>
                          <a:schemeClr val="bg1"/>
                        </a:solidFill>
                      </a:endParaRPr>
                    </a:p>
                  </a:txBody>
                  <a:tcPr/>
                </a:tc>
                <a:extLst>
                  <a:ext uri="{0D108BD9-81ED-4DB2-BD59-A6C34878D82A}">
                    <a16:rowId xmlns:a16="http://schemas.microsoft.com/office/drawing/2014/main" val="2838924240"/>
                  </a:ext>
                </a:extLst>
              </a:tr>
              <a:tr h="3689560">
                <a:tc>
                  <a:txBody>
                    <a:bodyPr/>
                    <a:lstStyle/>
                    <a:p>
                      <a:r>
                        <a:rPr kumimoji="1" lang="ja-JP" altLang="en-US" sz="1400" b="1">
                          <a:solidFill>
                            <a:schemeClr val="bg1"/>
                          </a:solidFill>
                        </a:rPr>
                        <a:t>利用者</a:t>
                      </a:r>
                    </a:p>
                  </a:txBody>
                  <a:tcPr vert="wordArtVertRtl" anchor="ctr" anchorCtr="1">
                    <a:solidFill>
                      <a:schemeClr val="accent1"/>
                    </a:solidFill>
                  </a:tcPr>
                </a:tc>
                <a:tc>
                  <a:txBody>
                    <a:bodyPr/>
                    <a:lstStyle/>
                    <a:p>
                      <a:endParaRPr kumimoji="1" lang="ja-JP" altLang="en-US"/>
                    </a:p>
                  </a:txBody>
                  <a:tcPr/>
                </a:tc>
                <a:extLst>
                  <a:ext uri="{0D108BD9-81ED-4DB2-BD59-A6C34878D82A}">
                    <a16:rowId xmlns:a16="http://schemas.microsoft.com/office/drawing/2014/main" val="3028206946"/>
                  </a:ext>
                </a:extLst>
              </a:tr>
            </a:tbl>
          </a:graphicData>
        </a:graphic>
      </p:graphicFrame>
      <p:sp>
        <p:nvSpPr>
          <p:cNvPr id="13" name="四角形: 角を丸くする 12">
            <a:extLst>
              <a:ext uri="{FF2B5EF4-FFF2-40B4-BE49-F238E27FC236}">
                <a16:creationId xmlns:a16="http://schemas.microsoft.com/office/drawing/2014/main" id="{22ECFFBA-584D-0208-9494-3F6A561CEFA6}"/>
              </a:ext>
            </a:extLst>
          </p:cNvPr>
          <p:cNvSpPr/>
          <p:nvPr/>
        </p:nvSpPr>
        <p:spPr>
          <a:xfrm>
            <a:off x="941337" y="1865754"/>
            <a:ext cx="1449437" cy="575567"/>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文書廃棄の発生</a:t>
            </a:r>
            <a:endParaRPr kumimoji="1" lang="en-US" altLang="ja-JP" sz="1200">
              <a:solidFill>
                <a:schemeClr val="tx1"/>
              </a:solidFill>
            </a:endParaRPr>
          </a:p>
        </p:txBody>
      </p:sp>
      <p:sp>
        <p:nvSpPr>
          <p:cNvPr id="14" name="正方形/長方形 13">
            <a:extLst>
              <a:ext uri="{FF2B5EF4-FFF2-40B4-BE49-F238E27FC236}">
                <a16:creationId xmlns:a16="http://schemas.microsoft.com/office/drawing/2014/main" id="{CA212066-292B-6811-E469-469059AAEFED}"/>
              </a:ext>
            </a:extLst>
          </p:cNvPr>
          <p:cNvSpPr/>
          <p:nvPr/>
        </p:nvSpPr>
        <p:spPr>
          <a:xfrm>
            <a:off x="3238285" y="1901717"/>
            <a:ext cx="1029616" cy="503641"/>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納入仕様書</a:t>
            </a:r>
            <a:br>
              <a:rPr kumimoji="1" lang="en-US" altLang="ja-JP" sz="1100" b="0" i="0" u="none" strike="noStrike" kern="1200" cap="none" spc="0" normalizeH="0" baseline="0" noProof="0">
                <a:ln>
                  <a:noFill/>
                </a:ln>
                <a:solidFill>
                  <a:prstClr val="black"/>
                </a:solidFill>
                <a:effectLst/>
                <a:uLnTx/>
                <a:uFillTx/>
                <a:latin typeface="Yu Gothic UI"/>
                <a:ea typeface="Yu Gothic UI"/>
                <a:cs typeface="+mn-cs"/>
              </a:rPr>
            </a:b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締結版）廃棄</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16" name="直線矢印コネクタ 15">
            <a:extLst>
              <a:ext uri="{FF2B5EF4-FFF2-40B4-BE49-F238E27FC236}">
                <a16:creationId xmlns:a16="http://schemas.microsoft.com/office/drawing/2014/main" id="{A5E3E74D-35D3-6098-14C3-7B354C66E604}"/>
              </a:ext>
            </a:extLst>
          </p:cNvPr>
          <p:cNvCxnSpPr>
            <a:cxnSpLocks/>
            <a:stCxn id="13" idx="3"/>
            <a:endCxn id="14" idx="1"/>
          </p:cNvCxnSpPr>
          <p:nvPr/>
        </p:nvCxnSpPr>
        <p:spPr>
          <a:xfrm>
            <a:off x="2390774" y="2153538"/>
            <a:ext cx="84751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四角形: 角を丸くする 16">
            <a:extLst>
              <a:ext uri="{FF2B5EF4-FFF2-40B4-BE49-F238E27FC236}">
                <a16:creationId xmlns:a16="http://schemas.microsoft.com/office/drawing/2014/main" id="{B2166DA8-7DFA-3949-3211-38F2350F65BE}"/>
              </a:ext>
            </a:extLst>
          </p:cNvPr>
          <p:cNvSpPr/>
          <p:nvPr/>
        </p:nvSpPr>
        <p:spPr>
          <a:xfrm>
            <a:off x="4958562" y="1863627"/>
            <a:ext cx="677909" cy="579822"/>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完了</a:t>
            </a:r>
          </a:p>
        </p:txBody>
      </p:sp>
      <p:cxnSp>
        <p:nvCxnSpPr>
          <p:cNvPr id="19" name="直線矢印コネクタ 18">
            <a:extLst>
              <a:ext uri="{FF2B5EF4-FFF2-40B4-BE49-F238E27FC236}">
                <a16:creationId xmlns:a16="http://schemas.microsoft.com/office/drawing/2014/main" id="{65522D4B-AF85-33C0-8178-FA89C130C70B}"/>
              </a:ext>
            </a:extLst>
          </p:cNvPr>
          <p:cNvCxnSpPr>
            <a:cxnSpLocks/>
            <a:stCxn id="14" idx="3"/>
            <a:endCxn id="17" idx="1"/>
          </p:cNvCxnSpPr>
          <p:nvPr/>
        </p:nvCxnSpPr>
        <p:spPr>
          <a:xfrm>
            <a:off x="4267901" y="2153538"/>
            <a:ext cx="69066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正方形/長方形 2">
            <a:extLst>
              <a:ext uri="{FF2B5EF4-FFF2-40B4-BE49-F238E27FC236}">
                <a16:creationId xmlns:a16="http://schemas.microsoft.com/office/drawing/2014/main" id="{7ECAFCCB-05C0-41D9-507E-1C19513E1D2F}"/>
              </a:ext>
            </a:extLst>
          </p:cNvPr>
          <p:cNvSpPr/>
          <p:nvPr/>
        </p:nvSpPr>
        <p:spPr>
          <a:xfrm>
            <a:off x="3238285" y="2677605"/>
            <a:ext cx="1029616" cy="503641"/>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prstClr val="black"/>
                </a:solidFill>
                <a:latin typeface="Yu Gothic UI"/>
                <a:ea typeface="Yu Gothic UI"/>
              </a:rPr>
              <a:t>製品規格書</a:t>
            </a:r>
            <a:r>
              <a:rPr kumimoji="1" lang="zh-TW" altLang="en-US" sz="1100" b="0" i="0" u="none" strike="noStrike" kern="1200" cap="none" spc="0" normalizeH="0" baseline="0" noProof="0">
                <a:ln>
                  <a:noFill/>
                </a:ln>
                <a:solidFill>
                  <a:prstClr val="black"/>
                </a:solidFill>
                <a:effectLst/>
                <a:uLnTx/>
                <a:uFillTx/>
                <a:latin typeface="Yu Gothic UI"/>
                <a:ea typeface="Yu Gothic UI"/>
                <a:cs typeface="+mn-cs"/>
              </a:rPr>
              <a:t>廃棄</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7" name="コネクタ: カギ線 6">
            <a:extLst>
              <a:ext uri="{FF2B5EF4-FFF2-40B4-BE49-F238E27FC236}">
                <a16:creationId xmlns:a16="http://schemas.microsoft.com/office/drawing/2014/main" id="{CBDC90A3-A090-E137-2EA0-F1DC578017EB}"/>
              </a:ext>
            </a:extLst>
          </p:cNvPr>
          <p:cNvCxnSpPr>
            <a:cxnSpLocks/>
            <a:stCxn id="13" idx="3"/>
            <a:endCxn id="3" idx="1"/>
          </p:cNvCxnSpPr>
          <p:nvPr/>
        </p:nvCxnSpPr>
        <p:spPr>
          <a:xfrm>
            <a:off x="2390774" y="2153538"/>
            <a:ext cx="847511" cy="77588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直線矢印コネクタ 9">
            <a:extLst>
              <a:ext uri="{FF2B5EF4-FFF2-40B4-BE49-F238E27FC236}">
                <a16:creationId xmlns:a16="http://schemas.microsoft.com/office/drawing/2014/main" id="{D52C8F2A-BC0C-12A3-113D-E439B628BEED}"/>
              </a:ext>
            </a:extLst>
          </p:cNvPr>
          <p:cNvCxnSpPr>
            <a:cxnSpLocks/>
            <a:stCxn id="3" idx="3"/>
            <a:endCxn id="12" idx="1"/>
          </p:cNvCxnSpPr>
          <p:nvPr/>
        </p:nvCxnSpPr>
        <p:spPr>
          <a:xfrm flipV="1">
            <a:off x="4267901" y="2928933"/>
            <a:ext cx="690661" cy="4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四角形: 角を丸くする 11">
            <a:extLst>
              <a:ext uri="{FF2B5EF4-FFF2-40B4-BE49-F238E27FC236}">
                <a16:creationId xmlns:a16="http://schemas.microsoft.com/office/drawing/2014/main" id="{D5E9BD3E-C325-C1E8-B5A8-6374D2C7C96A}"/>
              </a:ext>
            </a:extLst>
          </p:cNvPr>
          <p:cNvSpPr/>
          <p:nvPr/>
        </p:nvSpPr>
        <p:spPr>
          <a:xfrm>
            <a:off x="4958562" y="2639022"/>
            <a:ext cx="677909" cy="579822"/>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完了</a:t>
            </a:r>
          </a:p>
        </p:txBody>
      </p:sp>
      <p:sp>
        <p:nvSpPr>
          <p:cNvPr id="8" name="正方形/長方形 7">
            <a:extLst>
              <a:ext uri="{FF2B5EF4-FFF2-40B4-BE49-F238E27FC236}">
                <a16:creationId xmlns:a16="http://schemas.microsoft.com/office/drawing/2014/main" id="{51BD9E66-2D2C-13D8-972C-E35D0D6F6AFD}"/>
              </a:ext>
            </a:extLst>
          </p:cNvPr>
          <p:cNvSpPr/>
          <p:nvPr/>
        </p:nvSpPr>
        <p:spPr>
          <a:xfrm>
            <a:off x="3122563" y="3226596"/>
            <a:ext cx="1449437" cy="4782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ü"/>
            </a:pPr>
            <a:r>
              <a:rPr kumimoji="1" lang="ja-JP" altLang="en-US" sz="900">
                <a:solidFill>
                  <a:schemeClr val="tx1"/>
                </a:solidFill>
              </a:rPr>
              <a:t>即廃棄</a:t>
            </a:r>
            <a:endParaRPr kumimoji="1" lang="en-US" altLang="ja-JP" sz="900">
              <a:solidFill>
                <a:schemeClr val="tx1"/>
              </a:solidFill>
            </a:endParaRPr>
          </a:p>
          <a:p>
            <a:pPr marL="285750" indent="-285750">
              <a:buFont typeface="Wingdings" panose="05000000000000000000" pitchFamily="2" charset="2"/>
              <a:buChar char="ü"/>
            </a:pPr>
            <a:r>
              <a:rPr lang="ja-JP" altLang="en-US" sz="900">
                <a:solidFill>
                  <a:schemeClr val="tx1"/>
                </a:solidFill>
              </a:rPr>
              <a:t>廃棄承認ワークフロー</a:t>
            </a:r>
            <a:endParaRPr kumimoji="1" lang="en-US" altLang="ja-JP" sz="900">
              <a:solidFill>
                <a:schemeClr val="tx1"/>
              </a:solidFill>
            </a:endParaRPr>
          </a:p>
        </p:txBody>
      </p:sp>
      <p:cxnSp>
        <p:nvCxnSpPr>
          <p:cNvPr id="9" name="コネクタ: カギ線 8">
            <a:extLst>
              <a:ext uri="{FF2B5EF4-FFF2-40B4-BE49-F238E27FC236}">
                <a16:creationId xmlns:a16="http://schemas.microsoft.com/office/drawing/2014/main" id="{780FEDA3-B487-A98B-F99E-673D2043FEE5}"/>
              </a:ext>
            </a:extLst>
          </p:cNvPr>
          <p:cNvCxnSpPr>
            <a:cxnSpLocks/>
            <a:stCxn id="12" idx="2"/>
            <a:endCxn id="21" idx="1"/>
          </p:cNvCxnSpPr>
          <p:nvPr/>
        </p:nvCxnSpPr>
        <p:spPr>
          <a:xfrm rot="16200000" flipH="1">
            <a:off x="5050918" y="3465443"/>
            <a:ext cx="861001" cy="36780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正方形/長方形 20">
            <a:extLst>
              <a:ext uri="{FF2B5EF4-FFF2-40B4-BE49-F238E27FC236}">
                <a16:creationId xmlns:a16="http://schemas.microsoft.com/office/drawing/2014/main" id="{6095C9D2-FD1E-89F1-219D-F7D1CB1CE46B}"/>
              </a:ext>
            </a:extLst>
          </p:cNvPr>
          <p:cNvSpPr/>
          <p:nvPr/>
        </p:nvSpPr>
        <p:spPr>
          <a:xfrm>
            <a:off x="5665319" y="3828024"/>
            <a:ext cx="1029616" cy="503641"/>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prstClr val="black"/>
                </a:solidFill>
                <a:latin typeface="Yu Gothic UI"/>
                <a:ea typeface="Yu Gothic UI"/>
              </a:rPr>
              <a:t>製品規格書</a:t>
            </a:r>
            <a:r>
              <a:rPr kumimoji="1" lang="zh-TW" altLang="en-US" sz="1100" b="0" i="0" u="none" strike="noStrike" kern="1200" cap="none" spc="0" normalizeH="0" baseline="0" noProof="0">
                <a:ln>
                  <a:noFill/>
                </a:ln>
                <a:solidFill>
                  <a:prstClr val="black"/>
                </a:solidFill>
                <a:effectLst/>
                <a:uLnTx/>
                <a:uFillTx/>
                <a:latin typeface="Yu Gothic UI"/>
                <a:ea typeface="Yu Gothic UI"/>
                <a:cs typeface="+mn-cs"/>
              </a:rPr>
              <a:t>廃棄</a:t>
            </a:r>
            <a:br>
              <a:rPr kumimoji="1" lang="en-US" altLang="zh-TW" sz="1100" b="0" i="0" u="none" strike="noStrike" kern="1200" cap="none" spc="0" normalizeH="0" baseline="0" noProof="0">
                <a:ln>
                  <a:noFill/>
                </a:ln>
                <a:solidFill>
                  <a:prstClr val="black"/>
                </a:solidFill>
                <a:effectLst/>
                <a:uLnTx/>
                <a:uFillTx/>
                <a:latin typeface="Yu Gothic UI"/>
                <a:ea typeface="Yu Gothic UI"/>
                <a:cs typeface="+mn-cs"/>
              </a:rPr>
            </a:b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取り消し</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24" name="直線矢印コネクタ 23">
            <a:extLst>
              <a:ext uri="{FF2B5EF4-FFF2-40B4-BE49-F238E27FC236}">
                <a16:creationId xmlns:a16="http://schemas.microsoft.com/office/drawing/2014/main" id="{D95B6259-0B52-636B-D66C-4E2D22E247F6}"/>
              </a:ext>
            </a:extLst>
          </p:cNvPr>
          <p:cNvCxnSpPr>
            <a:cxnSpLocks/>
            <a:stCxn id="21" idx="3"/>
            <a:endCxn id="25" idx="1"/>
          </p:cNvCxnSpPr>
          <p:nvPr/>
        </p:nvCxnSpPr>
        <p:spPr>
          <a:xfrm>
            <a:off x="6694935" y="4079845"/>
            <a:ext cx="897837" cy="104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四角形: 角を丸くする 24">
            <a:extLst>
              <a:ext uri="{FF2B5EF4-FFF2-40B4-BE49-F238E27FC236}">
                <a16:creationId xmlns:a16="http://schemas.microsoft.com/office/drawing/2014/main" id="{F2DF74F3-A4B9-4921-731F-969C4DCA415B}"/>
              </a:ext>
            </a:extLst>
          </p:cNvPr>
          <p:cNvSpPr/>
          <p:nvPr/>
        </p:nvSpPr>
        <p:spPr>
          <a:xfrm>
            <a:off x="7592772" y="3800347"/>
            <a:ext cx="677909" cy="579822"/>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完了</a:t>
            </a:r>
          </a:p>
        </p:txBody>
      </p:sp>
      <p:sp>
        <p:nvSpPr>
          <p:cNvPr id="18" name="テキスト ボックス 17">
            <a:extLst>
              <a:ext uri="{FF2B5EF4-FFF2-40B4-BE49-F238E27FC236}">
                <a16:creationId xmlns:a16="http://schemas.microsoft.com/office/drawing/2014/main" id="{83201A74-EC8F-8DFA-FD57-16137960C040}"/>
              </a:ext>
            </a:extLst>
          </p:cNvPr>
          <p:cNvSpPr txBox="1"/>
          <p:nvPr/>
        </p:nvSpPr>
        <p:spPr>
          <a:xfrm>
            <a:off x="6041413" y="941442"/>
            <a:ext cx="622066" cy="230832"/>
          </a:xfrm>
          <a:prstGeom prst="rect">
            <a:avLst/>
          </a:prstGeom>
          <a:noFill/>
        </p:spPr>
        <p:txBody>
          <a:bodyPr wrap="square">
            <a:spAutoFit/>
          </a:bodyPr>
          <a:lstStyle/>
          <a:p>
            <a:r>
              <a:rPr kumimoji="1" lang="ja-JP" altLang="en-US" sz="900">
                <a:solidFill>
                  <a:schemeClr val="tx1"/>
                </a:solidFill>
              </a:rPr>
              <a:t>凡例：</a:t>
            </a:r>
            <a:endParaRPr kumimoji="1" lang="en-US" altLang="ja-JP" sz="900">
              <a:solidFill>
                <a:schemeClr val="tx1"/>
              </a:solidFill>
            </a:endParaRPr>
          </a:p>
        </p:txBody>
      </p:sp>
      <p:cxnSp>
        <p:nvCxnSpPr>
          <p:cNvPr id="20" name="直線コネクタ 19">
            <a:extLst>
              <a:ext uri="{FF2B5EF4-FFF2-40B4-BE49-F238E27FC236}">
                <a16:creationId xmlns:a16="http://schemas.microsoft.com/office/drawing/2014/main" id="{D4BFFC41-0371-44F9-F71E-F5CCA2215A65}"/>
              </a:ext>
            </a:extLst>
          </p:cNvPr>
          <p:cNvCxnSpPr>
            <a:cxnSpLocks/>
          </p:cNvCxnSpPr>
          <p:nvPr/>
        </p:nvCxnSpPr>
        <p:spPr>
          <a:xfrm>
            <a:off x="6663479" y="1060541"/>
            <a:ext cx="469371" cy="0"/>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テキスト ボックス 1">
            <a:extLst>
              <a:ext uri="{FF2B5EF4-FFF2-40B4-BE49-F238E27FC236}">
                <a16:creationId xmlns:a16="http://schemas.microsoft.com/office/drawing/2014/main" id="{81F66713-7E3E-FB97-1F4B-068EFAA218DD}"/>
              </a:ext>
            </a:extLst>
          </p:cNvPr>
          <p:cNvSpPr txBox="1"/>
          <p:nvPr/>
        </p:nvSpPr>
        <p:spPr>
          <a:xfrm>
            <a:off x="6112932" y="1381063"/>
            <a:ext cx="3097382" cy="338554"/>
          </a:xfrm>
          <a:prstGeom prst="rect">
            <a:avLst/>
          </a:prstGeom>
          <a:noFill/>
        </p:spPr>
        <p:txBody>
          <a:bodyPr wrap="square">
            <a:spAutoFit/>
          </a:bodyPr>
          <a:lstStyle/>
          <a:p>
            <a:r>
              <a:rPr lang="en-US" altLang="ja-JP" sz="800"/>
              <a:t>※</a:t>
            </a:r>
            <a:r>
              <a:rPr lang="ja-JP" altLang="en-US" sz="800"/>
              <a:t>本</a:t>
            </a:r>
            <a:r>
              <a:rPr lang="en-US" altLang="ja-JP" sz="800"/>
              <a:t>WF</a:t>
            </a:r>
            <a:r>
              <a:rPr lang="ja-JP" altLang="en-US" sz="800"/>
              <a:t>は機能の全体感を示すために記載しています</a:t>
            </a:r>
            <a:endParaRPr lang="en-US" altLang="ja-JP" sz="800"/>
          </a:p>
          <a:p>
            <a:r>
              <a:rPr kumimoji="1" lang="ja-JP" altLang="en-US" sz="800">
                <a:solidFill>
                  <a:schemeClr val="tx1"/>
                </a:solidFill>
              </a:rPr>
              <a:t>　分岐としての差戻は機能一覧に記載しています</a:t>
            </a:r>
            <a:endParaRPr kumimoji="1" lang="en-US" altLang="ja-JP" sz="800">
              <a:solidFill>
                <a:schemeClr val="tx1"/>
              </a:solidFill>
            </a:endParaRPr>
          </a:p>
        </p:txBody>
      </p:sp>
      <p:sp>
        <p:nvSpPr>
          <p:cNvPr id="22" name="テキスト プレースホルダー 4">
            <a:extLst>
              <a:ext uri="{FF2B5EF4-FFF2-40B4-BE49-F238E27FC236}">
                <a16:creationId xmlns:a16="http://schemas.microsoft.com/office/drawing/2014/main" id="{2D614361-58BB-E444-100A-C01BA458D588}"/>
              </a:ext>
            </a:extLst>
          </p:cNvPr>
          <p:cNvSpPr txBox="1">
            <a:spLocks/>
          </p:cNvSpPr>
          <p:nvPr/>
        </p:nvSpPr>
        <p:spPr>
          <a:xfrm>
            <a:off x="251524" y="1052963"/>
            <a:ext cx="8640950" cy="365125"/>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lang="ja-JP" altLang="en-US" sz="1800"/>
              <a:t>業務フロー</a:t>
            </a:r>
            <a:endParaRPr kumimoji="1" lang="en-US" altLang="zh-TW" sz="1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23" name="スライド番号プレースホルダー 1">
            <a:extLst>
              <a:ext uri="{FF2B5EF4-FFF2-40B4-BE49-F238E27FC236}">
                <a16:creationId xmlns:a16="http://schemas.microsoft.com/office/drawing/2014/main" id="{A2F64AD6-7106-0DD5-2074-D39889216754}"/>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11" name="テキスト ボックス 10">
            <a:extLst>
              <a:ext uri="{FF2B5EF4-FFF2-40B4-BE49-F238E27FC236}">
                <a16:creationId xmlns:a16="http://schemas.microsoft.com/office/drawing/2014/main" id="{697DF5E1-73C1-F17E-B0BC-E95A7EF6C8DC}"/>
              </a:ext>
            </a:extLst>
          </p:cNvPr>
          <p:cNvSpPr txBox="1"/>
          <p:nvPr/>
        </p:nvSpPr>
        <p:spPr>
          <a:xfrm>
            <a:off x="7132849" y="941442"/>
            <a:ext cx="1939149" cy="230832"/>
          </a:xfrm>
          <a:prstGeom prst="rect">
            <a:avLst/>
          </a:prstGeom>
          <a:noFill/>
        </p:spPr>
        <p:txBody>
          <a:bodyPr wrap="square">
            <a:spAutoFit/>
          </a:body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900"/>
              <a:t>2.</a:t>
            </a:r>
            <a:r>
              <a:rPr kumimoji="1" lang="ja-JP" altLang="en-US" sz="900"/>
              <a:t>機能要件</a:t>
            </a:r>
            <a:r>
              <a:rPr kumimoji="1" lang="en-US" altLang="ja-JP" sz="900"/>
              <a:t>(1)</a:t>
            </a:r>
            <a:r>
              <a:rPr kumimoji="1" lang="ja-JP" altLang="en-US" sz="900"/>
              <a:t>機能要件一覧参照</a:t>
            </a:r>
            <a:endParaRPr kumimoji="1" lang="en-US" altLang="zh-TW"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Tree>
    <p:extLst>
      <p:ext uri="{BB962C8B-B14F-4D97-AF65-F5344CB8AC3E}">
        <p14:creationId xmlns:p14="http://schemas.microsoft.com/office/powerpoint/2010/main" val="26418573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A976F1A-1F23-8E7A-9FE8-516548FD8E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5" name="think-cell data - do not delete" hidden="1">
                        <a:extLst>
                          <a:ext uri="{FF2B5EF4-FFF2-40B4-BE49-F238E27FC236}">
                            <a16:creationId xmlns:a16="http://schemas.microsoft.com/office/drawing/2014/main" id="{BA976F1A-1F23-8E7A-9FE8-516548FD8E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BE23AE77-CEAB-36A7-A61B-D1A32051ACD2}"/>
              </a:ext>
            </a:extLst>
          </p:cNvPr>
          <p:cNvSpPr>
            <a:spLocks noGrp="1"/>
          </p:cNvSpPr>
          <p:nvPr>
            <p:ph type="title"/>
          </p:nvPr>
        </p:nvSpPr>
        <p:spPr>
          <a:xfrm>
            <a:off x="251519" y="263966"/>
            <a:ext cx="7680208" cy="523220"/>
          </a:xfrm>
        </p:spPr>
        <p:txBody>
          <a:bodyPr vert="horz"/>
          <a:lstStyle/>
          <a:p>
            <a:r>
              <a:rPr kumimoji="1" lang="ja-JP" altLang="en-US"/>
              <a:t>１．業務要件</a:t>
            </a:r>
          </a:p>
        </p:txBody>
      </p:sp>
      <p:graphicFrame>
        <p:nvGraphicFramePr>
          <p:cNvPr id="6" name="表 7">
            <a:extLst>
              <a:ext uri="{FF2B5EF4-FFF2-40B4-BE49-F238E27FC236}">
                <a16:creationId xmlns:a16="http://schemas.microsoft.com/office/drawing/2014/main" id="{CA8E2A68-9716-173E-515E-C9C3A14F91D1}"/>
              </a:ext>
            </a:extLst>
          </p:cNvPr>
          <p:cNvGraphicFramePr>
            <a:graphicFrameLocks noGrp="1"/>
          </p:cNvGraphicFramePr>
          <p:nvPr/>
        </p:nvGraphicFramePr>
        <p:xfrm>
          <a:off x="72000" y="1381062"/>
          <a:ext cx="9000000" cy="3329089"/>
        </p:xfrm>
        <a:graphic>
          <a:graphicData uri="http://schemas.openxmlformats.org/drawingml/2006/table">
            <a:tbl>
              <a:tblPr firstRow="1" bandRow="1">
                <a:tableStyleId>{5C22544A-7EE6-4342-B048-85BDC9FD1C3A}</a:tableStyleId>
              </a:tblPr>
              <a:tblGrid>
                <a:gridCol w="575700">
                  <a:extLst>
                    <a:ext uri="{9D8B030D-6E8A-4147-A177-3AD203B41FA5}">
                      <a16:colId xmlns:a16="http://schemas.microsoft.com/office/drawing/2014/main" val="301329377"/>
                    </a:ext>
                  </a:extLst>
                </a:gridCol>
                <a:gridCol w="8424300">
                  <a:extLst>
                    <a:ext uri="{9D8B030D-6E8A-4147-A177-3AD203B41FA5}">
                      <a16:colId xmlns:a16="http://schemas.microsoft.com/office/drawing/2014/main" val="1027567464"/>
                    </a:ext>
                  </a:extLst>
                </a:gridCol>
              </a:tblGrid>
              <a:tr h="371538">
                <a:tc>
                  <a:txBody>
                    <a:bodyPr/>
                    <a:lstStyle/>
                    <a:p>
                      <a:endParaRPr kumimoji="1" lang="ja-JP" altLang="en-US"/>
                    </a:p>
                  </a:txBody>
                  <a:tcPr>
                    <a:solidFill>
                      <a:schemeClr val="accent1"/>
                    </a:solidFill>
                  </a:tcPr>
                </a:tc>
                <a:tc>
                  <a:txBody>
                    <a:bodyPr/>
                    <a:lstStyle/>
                    <a:p>
                      <a:pPr algn="l"/>
                      <a:r>
                        <a:rPr kumimoji="1" lang="ja-JP" altLang="en-US"/>
                        <a:t>業務種別　　</a:t>
                      </a:r>
                      <a:r>
                        <a:rPr kumimoji="1" lang="en-US" altLang="ja-JP" sz="1800" b="1">
                          <a:solidFill>
                            <a:schemeClr val="bg1"/>
                          </a:solidFill>
                        </a:rPr>
                        <a:t>k.</a:t>
                      </a:r>
                      <a:r>
                        <a:rPr kumimoji="1" lang="ja-JP" altLang="en-US" sz="1800" b="1">
                          <a:solidFill>
                            <a:schemeClr val="bg1"/>
                          </a:solidFill>
                        </a:rPr>
                        <a:t>バッチ処理</a:t>
                      </a:r>
                      <a:endParaRPr kumimoji="1" lang="en-US" altLang="ja-JP" sz="1800" b="1">
                        <a:solidFill>
                          <a:schemeClr val="bg1"/>
                        </a:solidFill>
                      </a:endParaRPr>
                    </a:p>
                  </a:txBody>
                  <a:tcPr/>
                </a:tc>
                <a:extLst>
                  <a:ext uri="{0D108BD9-81ED-4DB2-BD59-A6C34878D82A}">
                    <a16:rowId xmlns:a16="http://schemas.microsoft.com/office/drawing/2014/main" val="2838924240"/>
                  </a:ext>
                </a:extLst>
              </a:tr>
              <a:tr h="2957551">
                <a:tc>
                  <a:txBody>
                    <a:bodyPr/>
                    <a:lstStyle/>
                    <a:p>
                      <a:r>
                        <a:rPr kumimoji="1" lang="ja-JP" altLang="en-US" sz="1400" b="1">
                          <a:solidFill>
                            <a:schemeClr val="bg1"/>
                          </a:solidFill>
                        </a:rPr>
                        <a:t>システム</a:t>
                      </a:r>
                    </a:p>
                  </a:txBody>
                  <a:tcPr vert="wordArtVertRtl" anchor="ctr" anchorCtr="1">
                    <a:solidFill>
                      <a:schemeClr val="accent1"/>
                    </a:solidFill>
                  </a:tcPr>
                </a:tc>
                <a:tc>
                  <a:txBody>
                    <a:bodyPr/>
                    <a:lstStyle/>
                    <a:p>
                      <a:endParaRPr kumimoji="1" lang="ja-JP" altLang="en-US"/>
                    </a:p>
                  </a:txBody>
                  <a:tcPr/>
                </a:tc>
                <a:extLst>
                  <a:ext uri="{0D108BD9-81ED-4DB2-BD59-A6C34878D82A}">
                    <a16:rowId xmlns:a16="http://schemas.microsoft.com/office/drawing/2014/main" val="3028206946"/>
                  </a:ext>
                </a:extLst>
              </a:tr>
            </a:tbl>
          </a:graphicData>
        </a:graphic>
      </p:graphicFrame>
      <p:sp>
        <p:nvSpPr>
          <p:cNvPr id="14" name="正方形/長方形 13">
            <a:extLst>
              <a:ext uri="{FF2B5EF4-FFF2-40B4-BE49-F238E27FC236}">
                <a16:creationId xmlns:a16="http://schemas.microsoft.com/office/drawing/2014/main" id="{CA212066-292B-6811-E469-469059AAEFED}"/>
              </a:ext>
            </a:extLst>
          </p:cNvPr>
          <p:cNvSpPr/>
          <p:nvPr/>
        </p:nvSpPr>
        <p:spPr>
          <a:xfrm>
            <a:off x="1645705" y="2259857"/>
            <a:ext cx="1029616" cy="503641"/>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競合管理文書削除</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18" name="正方形/長方形 17">
            <a:extLst>
              <a:ext uri="{FF2B5EF4-FFF2-40B4-BE49-F238E27FC236}">
                <a16:creationId xmlns:a16="http://schemas.microsoft.com/office/drawing/2014/main" id="{859885BD-DEFA-7CC4-DE36-60D47F939E91}"/>
              </a:ext>
            </a:extLst>
          </p:cNvPr>
          <p:cNvSpPr/>
          <p:nvPr/>
        </p:nvSpPr>
        <p:spPr>
          <a:xfrm>
            <a:off x="3322105" y="2259857"/>
            <a:ext cx="1029616" cy="503641"/>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prstClr val="black"/>
                </a:solidFill>
                <a:latin typeface="Yu Gothic UI"/>
                <a:ea typeface="Yu Gothic UI"/>
              </a:rPr>
              <a:t>回答期限超過連絡メール</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22" name="正方形/長方形 21">
            <a:extLst>
              <a:ext uri="{FF2B5EF4-FFF2-40B4-BE49-F238E27FC236}">
                <a16:creationId xmlns:a16="http://schemas.microsoft.com/office/drawing/2014/main" id="{08D17E09-3FD0-1A6F-3C91-DC41EA2CD5E5}"/>
              </a:ext>
            </a:extLst>
          </p:cNvPr>
          <p:cNvSpPr/>
          <p:nvPr/>
        </p:nvSpPr>
        <p:spPr>
          <a:xfrm>
            <a:off x="4947677" y="2259857"/>
            <a:ext cx="1029616" cy="503641"/>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メール文書削除</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26" name="正方形/長方形 25">
            <a:extLst>
              <a:ext uri="{FF2B5EF4-FFF2-40B4-BE49-F238E27FC236}">
                <a16:creationId xmlns:a16="http://schemas.microsoft.com/office/drawing/2014/main" id="{91DD257D-F2CE-0C9D-5212-CA9EF5B40260}"/>
              </a:ext>
            </a:extLst>
          </p:cNvPr>
          <p:cNvSpPr/>
          <p:nvPr/>
        </p:nvSpPr>
        <p:spPr>
          <a:xfrm>
            <a:off x="6587362" y="2259857"/>
            <a:ext cx="1029616" cy="503641"/>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prstClr val="black"/>
                </a:solidFill>
                <a:latin typeface="Yu Gothic UI"/>
                <a:ea typeface="Yu Gothic UI"/>
              </a:rPr>
              <a:t>不要文書削除</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29" name="正方形/長方形 28">
            <a:extLst>
              <a:ext uri="{FF2B5EF4-FFF2-40B4-BE49-F238E27FC236}">
                <a16:creationId xmlns:a16="http://schemas.microsoft.com/office/drawing/2014/main" id="{F0474BE8-8230-3FBA-8571-E047495CE70D}"/>
              </a:ext>
            </a:extLst>
          </p:cNvPr>
          <p:cNvSpPr/>
          <p:nvPr/>
        </p:nvSpPr>
        <p:spPr>
          <a:xfrm>
            <a:off x="1645705" y="3105033"/>
            <a:ext cx="1029616" cy="503641"/>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prstClr val="black"/>
                </a:solidFill>
                <a:latin typeface="Yu Gothic UI"/>
                <a:ea typeface="Yu Gothic UI"/>
              </a:rPr>
              <a:t>旧版ソースファイル</a:t>
            </a:r>
            <a:br>
              <a:rPr lang="en-US" altLang="ja-JP" sz="1100">
                <a:solidFill>
                  <a:prstClr val="black"/>
                </a:solidFill>
                <a:latin typeface="Yu Gothic UI"/>
                <a:ea typeface="Yu Gothic UI"/>
              </a:rPr>
            </a:br>
            <a:r>
              <a:rPr lang="ja-JP" altLang="en-US" sz="1100">
                <a:solidFill>
                  <a:prstClr val="black"/>
                </a:solidFill>
                <a:latin typeface="Yu Gothic UI"/>
                <a:ea typeface="Yu Gothic UI"/>
              </a:rPr>
              <a:t>削除</a:t>
            </a:r>
            <a:endParaRPr kumimoji="1" lang="en-US" altLang="ja-JP" sz="110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32" name="正方形/長方形 31">
            <a:extLst>
              <a:ext uri="{FF2B5EF4-FFF2-40B4-BE49-F238E27FC236}">
                <a16:creationId xmlns:a16="http://schemas.microsoft.com/office/drawing/2014/main" id="{892B8DFC-0ADC-16E9-F2B1-D0E8516C1ED7}"/>
              </a:ext>
            </a:extLst>
          </p:cNvPr>
          <p:cNvSpPr/>
          <p:nvPr/>
        </p:nvSpPr>
        <p:spPr>
          <a:xfrm>
            <a:off x="3322105" y="3105033"/>
            <a:ext cx="1029616" cy="503641"/>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prstClr val="black"/>
                </a:solidFill>
                <a:effectLst/>
                <a:uLnTx/>
                <a:uFillTx/>
                <a:latin typeface="Yu Gothic UI"/>
                <a:ea typeface="Yu Gothic UI"/>
                <a:cs typeface="+mn-cs"/>
              </a:rPr>
              <a:t>督促メール送信＊</a:t>
            </a:r>
            <a:br>
              <a:rPr kumimoji="1" lang="en-US" altLang="ja-JP" sz="1100" i="0" u="none" strike="noStrike" kern="1200" cap="none" spc="0" normalizeH="0" baseline="0" noProof="0">
                <a:ln>
                  <a:noFill/>
                </a:ln>
                <a:solidFill>
                  <a:prstClr val="black"/>
                </a:solidFill>
                <a:effectLst/>
                <a:uLnTx/>
                <a:uFillTx/>
                <a:latin typeface="Yu Gothic UI"/>
                <a:ea typeface="Yu Gothic UI"/>
                <a:cs typeface="+mn-cs"/>
              </a:rPr>
            </a:br>
            <a:r>
              <a:rPr kumimoji="1" lang="ja-JP" altLang="en-US" sz="1100" i="0" u="none" strike="noStrike" kern="1200" cap="none" spc="0" normalizeH="0" baseline="0" noProof="0">
                <a:ln>
                  <a:noFill/>
                </a:ln>
                <a:solidFill>
                  <a:prstClr val="black"/>
                </a:solidFill>
                <a:effectLst/>
                <a:uLnTx/>
                <a:uFillTx/>
                <a:latin typeface="Yu Gothic UI"/>
                <a:ea typeface="Yu Gothic UI"/>
                <a:cs typeface="+mn-cs"/>
              </a:rPr>
              <a:t>納入仕様書</a:t>
            </a:r>
            <a:endParaRPr kumimoji="1" lang="en-US" altLang="ja-JP" sz="110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35" name="正方形/長方形 34">
            <a:extLst>
              <a:ext uri="{FF2B5EF4-FFF2-40B4-BE49-F238E27FC236}">
                <a16:creationId xmlns:a16="http://schemas.microsoft.com/office/drawing/2014/main" id="{421B7387-B95E-8EA5-2379-E8C58F2BA8A0}"/>
              </a:ext>
            </a:extLst>
          </p:cNvPr>
          <p:cNvSpPr/>
          <p:nvPr/>
        </p:nvSpPr>
        <p:spPr>
          <a:xfrm>
            <a:off x="4947677" y="3105033"/>
            <a:ext cx="1029616" cy="503641"/>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prstClr val="black"/>
                </a:solidFill>
                <a:effectLst/>
                <a:uLnTx/>
                <a:uFillTx/>
                <a:latin typeface="Yu Gothic UI"/>
                <a:ea typeface="Yu Gothic UI"/>
                <a:cs typeface="+mn-cs"/>
              </a:rPr>
              <a:t>督促メール送信＊</a:t>
            </a:r>
            <a:br>
              <a:rPr kumimoji="1" lang="en-US" altLang="ja-JP" sz="1100" i="0" u="none" strike="noStrike" kern="1200" cap="none" spc="0" normalizeH="0" baseline="0" noProof="0">
                <a:ln>
                  <a:noFill/>
                </a:ln>
                <a:solidFill>
                  <a:prstClr val="black"/>
                </a:solidFill>
                <a:effectLst/>
                <a:uLnTx/>
                <a:uFillTx/>
                <a:latin typeface="Yu Gothic UI"/>
                <a:ea typeface="Yu Gothic UI"/>
                <a:cs typeface="+mn-cs"/>
              </a:rPr>
            </a:br>
            <a:r>
              <a:rPr kumimoji="1" lang="ja-JP" altLang="en-US" sz="1100" i="0" u="none" strike="noStrike" kern="1200" cap="none" spc="0" normalizeH="0" baseline="0" noProof="0">
                <a:ln>
                  <a:noFill/>
                </a:ln>
                <a:solidFill>
                  <a:prstClr val="black"/>
                </a:solidFill>
                <a:effectLst/>
                <a:uLnTx/>
                <a:uFillTx/>
                <a:latin typeface="Yu Gothic UI"/>
                <a:ea typeface="Yu Gothic UI"/>
                <a:cs typeface="+mn-cs"/>
              </a:rPr>
              <a:t>一般規格</a:t>
            </a:r>
            <a:endParaRPr kumimoji="1" lang="en-US" altLang="ja-JP" sz="110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38" name="正方形/長方形 37">
            <a:extLst>
              <a:ext uri="{FF2B5EF4-FFF2-40B4-BE49-F238E27FC236}">
                <a16:creationId xmlns:a16="http://schemas.microsoft.com/office/drawing/2014/main" id="{7C7D62D5-275E-9526-865C-18F830074806}"/>
              </a:ext>
            </a:extLst>
          </p:cNvPr>
          <p:cNvSpPr/>
          <p:nvPr/>
        </p:nvSpPr>
        <p:spPr>
          <a:xfrm>
            <a:off x="6587362" y="3105033"/>
            <a:ext cx="1029616" cy="503641"/>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prstClr val="black"/>
                </a:solidFill>
                <a:effectLst/>
                <a:uLnTx/>
                <a:uFillTx/>
                <a:latin typeface="Yu Gothic UI"/>
                <a:ea typeface="Yu Gothic UI"/>
                <a:cs typeface="+mn-cs"/>
              </a:rPr>
              <a:t>廃版置換</a:t>
            </a:r>
            <a:endParaRPr kumimoji="1" lang="en-US" altLang="ja-JP" sz="110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41" name="正方形/長方形 40">
            <a:extLst>
              <a:ext uri="{FF2B5EF4-FFF2-40B4-BE49-F238E27FC236}">
                <a16:creationId xmlns:a16="http://schemas.microsoft.com/office/drawing/2014/main" id="{B83DED9D-7A64-13E4-07E6-AA3B9D691769}"/>
              </a:ext>
            </a:extLst>
          </p:cNvPr>
          <p:cNvSpPr/>
          <p:nvPr/>
        </p:nvSpPr>
        <p:spPr>
          <a:xfrm>
            <a:off x="1645705" y="3940299"/>
            <a:ext cx="1029616" cy="503641"/>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prstClr val="black"/>
                </a:solidFill>
                <a:latin typeface="Yu Gothic UI"/>
                <a:ea typeface="Yu Gothic UI"/>
              </a:rPr>
              <a:t>補助項目反映</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3" name="テキスト プレースホルダー 4">
            <a:extLst>
              <a:ext uri="{FF2B5EF4-FFF2-40B4-BE49-F238E27FC236}">
                <a16:creationId xmlns:a16="http://schemas.microsoft.com/office/drawing/2014/main" id="{DAB080E1-625B-50A1-4BC3-8B3619106C49}"/>
              </a:ext>
            </a:extLst>
          </p:cNvPr>
          <p:cNvSpPr txBox="1">
            <a:spLocks/>
          </p:cNvSpPr>
          <p:nvPr/>
        </p:nvSpPr>
        <p:spPr>
          <a:xfrm>
            <a:off x="251524" y="1066817"/>
            <a:ext cx="8640950" cy="365125"/>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lang="ja-JP" altLang="en-US" sz="1800"/>
              <a:t>業務フロー</a:t>
            </a:r>
            <a:endParaRPr kumimoji="1" lang="en-US" altLang="zh-TW" sz="1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7" name="スライド番号プレースホルダー 1">
            <a:extLst>
              <a:ext uri="{FF2B5EF4-FFF2-40B4-BE49-F238E27FC236}">
                <a16:creationId xmlns:a16="http://schemas.microsoft.com/office/drawing/2014/main" id="{355E7803-6E65-95FE-C105-1C1D62C1FA09}"/>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Tree>
    <p:extLst>
      <p:ext uri="{BB962C8B-B14F-4D97-AF65-F5344CB8AC3E}">
        <p14:creationId xmlns:p14="http://schemas.microsoft.com/office/powerpoint/2010/main" val="7840191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84D1DA-97ED-2719-33EF-A13650BDF72A}"/>
              </a:ext>
            </a:extLst>
          </p:cNvPr>
          <p:cNvGraphicFramePr>
            <a:graphicFrameLocks noChangeAspect="1"/>
          </p:cNvGraphicFramePr>
          <p:nvPr>
            <p:custDataLst>
              <p:tags r:id="rId1"/>
            </p:custDataLst>
            <p:extLst>
              <p:ext uri="{D42A27DB-BD31-4B8C-83A1-F6EECF244321}">
                <p14:modId xmlns:p14="http://schemas.microsoft.com/office/powerpoint/2010/main" val="3241981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2A84D1DA-97ED-2719-33EF-A13650BDF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C0CD4ED1-0F74-83B6-F4AC-8C87103B97BF}"/>
              </a:ext>
            </a:extLst>
          </p:cNvPr>
          <p:cNvSpPr>
            <a:spLocks noGrp="1"/>
          </p:cNvSpPr>
          <p:nvPr>
            <p:ph type="title"/>
          </p:nvPr>
        </p:nvSpPr>
        <p:spPr/>
        <p:txBody>
          <a:bodyPr vert="horz"/>
          <a:lstStyle/>
          <a:p>
            <a:r>
              <a:rPr lang="ja-JP" altLang="en-US"/>
              <a:t>２．機能要件</a:t>
            </a:r>
            <a:endParaRPr kumimoji="1" lang="ja-JP" altLang="en-US"/>
          </a:p>
        </p:txBody>
      </p:sp>
      <p:sp>
        <p:nvSpPr>
          <p:cNvPr id="9" name="コンテンツ プレースホルダー 6">
            <a:extLst>
              <a:ext uri="{FF2B5EF4-FFF2-40B4-BE49-F238E27FC236}">
                <a16:creationId xmlns:a16="http://schemas.microsoft.com/office/drawing/2014/main" id="{7FAB7FED-86C0-349A-32E6-486F205BB8B9}"/>
              </a:ext>
            </a:extLst>
          </p:cNvPr>
          <p:cNvSpPr txBox="1">
            <a:spLocks/>
          </p:cNvSpPr>
          <p:nvPr/>
        </p:nvSpPr>
        <p:spPr>
          <a:xfrm>
            <a:off x="251519" y="1418088"/>
            <a:ext cx="8603312" cy="1243587"/>
          </a:xfrm>
          <a:prstGeom prst="rect">
            <a:avLst/>
          </a:prstGeom>
        </p:spPr>
        <p:txBody>
          <a:bodyPr vert="horz" lIns="0" tIns="0" rIns="0" bIns="0" rtlCol="0">
            <a:normAutofit/>
          </a:bodyPr>
          <a:lstStyle>
            <a:lvl1pPr marL="285750" indent="-285750" algn="l" defTabSz="914400" rtl="0" eaLnBrk="1" latinLnBrk="0" hangingPunct="1">
              <a:lnSpc>
                <a:spcPct val="150000"/>
              </a:lnSpc>
              <a:spcBef>
                <a:spcPts val="1000"/>
              </a:spcBef>
              <a:buFont typeface="Arial" panose="020B0604020202020204" pitchFamily="34" charset="0"/>
              <a:buChar char="•"/>
              <a:defRPr kumimoji="1" sz="1600" kern="1200" baseline="0">
                <a:solidFill>
                  <a:schemeClr val="tx1"/>
                </a:solidFill>
                <a:latin typeface="+mn-lt"/>
                <a:ea typeface="+mn-ea"/>
                <a:cs typeface="+mn-cs"/>
              </a:defRPr>
            </a:lvl1pPr>
            <a:lvl2pPr marL="64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100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3pPr>
            <a:lvl4pPr marL="136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4pPr>
            <a:lvl5pPr marL="172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1" lang="ja-JP" altLang="en-US" sz="1600" b="0" i="0" u="none" strike="noStrike" kern="1200" cap="none" spc="0" normalizeH="0" baseline="0" noProof="0">
                <a:ln>
                  <a:noFill/>
                </a:ln>
                <a:solidFill>
                  <a:srgbClr val="000000"/>
                </a:solidFill>
                <a:effectLst/>
                <a:uLnTx/>
                <a:uFillTx/>
                <a:latin typeface="+mj-lt"/>
                <a:ea typeface="游ゴシック Medium"/>
                <a:cs typeface="+mn-cs"/>
              </a:rPr>
              <a:t>詳細な機能要件は、「</a:t>
            </a:r>
            <a:r>
              <a:rPr lang="ja-JP" altLang="en-US">
                <a:hlinkClick r:id="rId5"/>
              </a:rPr>
              <a:t> </a:t>
            </a:r>
            <a:r>
              <a:rPr lang="en-US" altLang="ja-JP">
                <a:hlinkClick r:id="rId5"/>
              </a:rPr>
              <a:t>【</a:t>
            </a:r>
            <a:r>
              <a:rPr lang="ja-JP" altLang="en-US">
                <a:hlinkClick r:id="rId5"/>
              </a:rPr>
              <a:t>新アプリ</a:t>
            </a:r>
            <a:r>
              <a:rPr lang="en-US" altLang="ja-JP">
                <a:hlinkClick r:id="rId5"/>
              </a:rPr>
              <a:t>】</a:t>
            </a:r>
            <a:r>
              <a:rPr lang="ja-JP" altLang="en-US">
                <a:hlinkClick r:id="rId5"/>
              </a:rPr>
              <a:t>機能要件一覧 </a:t>
            </a:r>
            <a:r>
              <a:rPr lang="en-US" altLang="ja-JP">
                <a:hlinkClick r:id="rId5"/>
              </a:rPr>
              <a:t>V1.1.xlsx </a:t>
            </a:r>
            <a:r>
              <a:rPr kumimoji="1" lang="ja-JP" altLang="en-US" sz="1600" b="0" i="0" u="none" strike="noStrike" kern="1200" cap="none" spc="0" normalizeH="0" baseline="0" noProof="0">
                <a:ln>
                  <a:noFill/>
                </a:ln>
                <a:solidFill>
                  <a:srgbClr val="000000"/>
                </a:solidFill>
                <a:effectLst/>
                <a:uLnTx/>
                <a:uFillTx/>
                <a:latin typeface="+mj-lt"/>
                <a:ea typeface="游ゴシック Medium"/>
                <a:cs typeface="+mn-cs"/>
              </a:rPr>
              <a:t>」を参照</a:t>
            </a:r>
          </a:p>
        </p:txBody>
      </p:sp>
      <p:sp>
        <p:nvSpPr>
          <p:cNvPr id="5" name="テキスト プレースホルダー 4">
            <a:extLst>
              <a:ext uri="{FF2B5EF4-FFF2-40B4-BE49-F238E27FC236}">
                <a16:creationId xmlns:a16="http://schemas.microsoft.com/office/drawing/2014/main" id="{0383ADF8-D4D5-4223-2D06-3870C548F23A}"/>
              </a:ext>
            </a:extLst>
          </p:cNvPr>
          <p:cNvSpPr txBox="1">
            <a:spLocks/>
          </p:cNvSpPr>
          <p:nvPr/>
        </p:nvSpPr>
        <p:spPr>
          <a:xfrm>
            <a:off x="251524" y="1052963"/>
            <a:ext cx="8640950" cy="36512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1)</a:t>
            </a:r>
            <a:r>
              <a:rPr kumimoji="1" lang="ja-JP" altLang="en-US" sz="1800"/>
              <a:t>機能要件一覧</a:t>
            </a:r>
            <a:endParaRPr kumimoji="1" lang="en-US" altLang="zh-TW"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8" name="スライド番号プレースホルダー 1">
            <a:extLst>
              <a:ext uri="{FF2B5EF4-FFF2-40B4-BE49-F238E27FC236}">
                <a16:creationId xmlns:a16="http://schemas.microsoft.com/office/drawing/2014/main" id="{CAD28496-5C0D-8B4B-D9AD-55F5ECC782FF}"/>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Tree>
    <p:extLst>
      <p:ext uri="{BB962C8B-B14F-4D97-AF65-F5344CB8AC3E}">
        <p14:creationId xmlns:p14="http://schemas.microsoft.com/office/powerpoint/2010/main" val="34173807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84D1DA-97ED-2719-33EF-A13650BDF72A}"/>
              </a:ext>
            </a:extLst>
          </p:cNvPr>
          <p:cNvGraphicFramePr>
            <a:graphicFrameLocks noChangeAspect="1"/>
          </p:cNvGraphicFramePr>
          <p:nvPr>
            <p:custDataLst>
              <p:tags r:id="rId1"/>
            </p:custDataLst>
            <p:extLst>
              <p:ext uri="{D42A27DB-BD31-4B8C-83A1-F6EECF244321}">
                <p14:modId xmlns:p14="http://schemas.microsoft.com/office/powerpoint/2010/main" val="76643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2A84D1DA-97ED-2719-33EF-A13650BDF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C0CD4ED1-0F74-83B6-F4AC-8C87103B97BF}"/>
              </a:ext>
            </a:extLst>
          </p:cNvPr>
          <p:cNvSpPr>
            <a:spLocks noGrp="1"/>
          </p:cNvSpPr>
          <p:nvPr>
            <p:ph type="title"/>
          </p:nvPr>
        </p:nvSpPr>
        <p:spPr/>
        <p:txBody>
          <a:bodyPr vert="horz"/>
          <a:lstStyle/>
          <a:p>
            <a:r>
              <a:rPr lang="ja-JP" altLang="en-US"/>
              <a:t>２．機能要件</a:t>
            </a:r>
            <a:endParaRPr kumimoji="1" lang="ja-JP" altLang="en-US"/>
          </a:p>
        </p:txBody>
      </p:sp>
      <p:sp>
        <p:nvSpPr>
          <p:cNvPr id="11" name="正方形/長方形 10">
            <a:extLst>
              <a:ext uri="{FF2B5EF4-FFF2-40B4-BE49-F238E27FC236}">
                <a16:creationId xmlns:a16="http://schemas.microsoft.com/office/drawing/2014/main" id="{0EC7281E-A90C-3C15-49DE-D55E499FAA99}"/>
              </a:ext>
            </a:extLst>
          </p:cNvPr>
          <p:cNvSpPr/>
          <p:nvPr/>
        </p:nvSpPr>
        <p:spPr>
          <a:xfrm>
            <a:off x="262351" y="1894629"/>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50">
                <a:solidFill>
                  <a:prstClr val="black"/>
                </a:solidFill>
                <a:latin typeface="Yu Gothic UI"/>
                <a:ea typeface="Yu Gothic UI"/>
              </a:rPr>
              <a:t>トップ画面</a:t>
            </a:r>
            <a:endParaRPr kumimoji="1" lang="ja-JP" altLang="en-US" sz="105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16" name="直線矢印コネクタ 54">
            <a:extLst>
              <a:ext uri="{FF2B5EF4-FFF2-40B4-BE49-F238E27FC236}">
                <a16:creationId xmlns:a16="http://schemas.microsoft.com/office/drawing/2014/main" id="{D3294AEF-132B-EEC9-8CDD-F9A9B3615206}"/>
              </a:ext>
            </a:extLst>
          </p:cNvPr>
          <p:cNvCxnSpPr>
            <a:cxnSpLocks/>
            <a:stCxn id="11" idx="3"/>
            <a:endCxn id="15" idx="1"/>
          </p:cNvCxnSpPr>
          <p:nvPr/>
        </p:nvCxnSpPr>
        <p:spPr>
          <a:xfrm>
            <a:off x="1666351" y="2020629"/>
            <a:ext cx="641979" cy="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3" name="直線矢印コネクタ 54">
            <a:extLst>
              <a:ext uri="{FF2B5EF4-FFF2-40B4-BE49-F238E27FC236}">
                <a16:creationId xmlns:a16="http://schemas.microsoft.com/office/drawing/2014/main" id="{1F8EF0D7-25B6-B2B7-A0A3-65F999B4BBB4}"/>
              </a:ext>
            </a:extLst>
          </p:cNvPr>
          <p:cNvCxnSpPr>
            <a:cxnSpLocks/>
            <a:stCxn id="11" idx="3"/>
            <a:endCxn id="18" idx="1"/>
          </p:cNvCxnSpPr>
          <p:nvPr/>
        </p:nvCxnSpPr>
        <p:spPr>
          <a:xfrm>
            <a:off x="1666351" y="2020629"/>
            <a:ext cx="641979" cy="193332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直線矢印コネクタ 54">
            <a:extLst>
              <a:ext uri="{FF2B5EF4-FFF2-40B4-BE49-F238E27FC236}">
                <a16:creationId xmlns:a16="http://schemas.microsoft.com/office/drawing/2014/main" id="{8D8F976A-8A31-9743-FFFD-47DB879400C1}"/>
              </a:ext>
            </a:extLst>
          </p:cNvPr>
          <p:cNvCxnSpPr>
            <a:cxnSpLocks/>
            <a:stCxn id="11" idx="3"/>
            <a:endCxn id="33" idx="1"/>
          </p:cNvCxnSpPr>
          <p:nvPr/>
        </p:nvCxnSpPr>
        <p:spPr>
          <a:xfrm>
            <a:off x="1666351" y="2020629"/>
            <a:ext cx="641979" cy="300363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正方形/長方形 11">
            <a:extLst>
              <a:ext uri="{FF2B5EF4-FFF2-40B4-BE49-F238E27FC236}">
                <a16:creationId xmlns:a16="http://schemas.microsoft.com/office/drawing/2014/main" id="{FA7B8201-B10C-CA15-B4C9-D60A9EC79CD8}"/>
              </a:ext>
            </a:extLst>
          </p:cNvPr>
          <p:cNvSpPr/>
          <p:nvPr/>
        </p:nvSpPr>
        <p:spPr>
          <a:xfrm>
            <a:off x="4129396" y="1527267"/>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納入仕様書作成・登録</a:t>
            </a:r>
          </a:p>
        </p:txBody>
      </p:sp>
      <p:sp>
        <p:nvSpPr>
          <p:cNvPr id="13" name="正方形/長方形 12">
            <a:extLst>
              <a:ext uri="{FF2B5EF4-FFF2-40B4-BE49-F238E27FC236}">
                <a16:creationId xmlns:a16="http://schemas.microsoft.com/office/drawing/2014/main" id="{FF7658A8-B13E-BC20-5F6A-5892E86FFA86}"/>
              </a:ext>
            </a:extLst>
          </p:cNvPr>
          <p:cNvSpPr/>
          <p:nvPr/>
        </p:nvSpPr>
        <p:spPr>
          <a:xfrm>
            <a:off x="4129396" y="2261990"/>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納入仕様書照会</a:t>
            </a:r>
          </a:p>
        </p:txBody>
      </p:sp>
      <p:cxnSp>
        <p:nvCxnSpPr>
          <p:cNvPr id="14" name="直線矢印コネクタ 52">
            <a:extLst>
              <a:ext uri="{FF2B5EF4-FFF2-40B4-BE49-F238E27FC236}">
                <a16:creationId xmlns:a16="http://schemas.microsoft.com/office/drawing/2014/main" id="{F10F571C-D0AD-66FE-3042-772090E4B0EA}"/>
              </a:ext>
            </a:extLst>
          </p:cNvPr>
          <p:cNvCxnSpPr>
            <a:cxnSpLocks/>
            <a:stCxn id="15" idx="3"/>
            <a:endCxn id="13" idx="1"/>
          </p:cNvCxnSpPr>
          <p:nvPr/>
        </p:nvCxnSpPr>
        <p:spPr>
          <a:xfrm>
            <a:off x="3712330" y="2020629"/>
            <a:ext cx="417066" cy="367361"/>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正方形/長方形 14">
            <a:extLst>
              <a:ext uri="{FF2B5EF4-FFF2-40B4-BE49-F238E27FC236}">
                <a16:creationId xmlns:a16="http://schemas.microsoft.com/office/drawing/2014/main" id="{F599A748-211D-BB62-0D32-D176DAF953E6}"/>
              </a:ext>
            </a:extLst>
          </p:cNvPr>
          <p:cNvSpPr/>
          <p:nvPr/>
        </p:nvSpPr>
        <p:spPr>
          <a:xfrm>
            <a:off x="2308330" y="1894629"/>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納入仕様書</a:t>
            </a:r>
          </a:p>
        </p:txBody>
      </p:sp>
      <p:cxnSp>
        <p:nvCxnSpPr>
          <p:cNvPr id="24" name="直線矢印コネクタ 47">
            <a:extLst>
              <a:ext uri="{FF2B5EF4-FFF2-40B4-BE49-F238E27FC236}">
                <a16:creationId xmlns:a16="http://schemas.microsoft.com/office/drawing/2014/main" id="{CC0F81B0-F524-0017-82F0-75A932D3C179}"/>
              </a:ext>
            </a:extLst>
          </p:cNvPr>
          <p:cNvCxnSpPr>
            <a:cxnSpLocks/>
            <a:stCxn id="15" idx="3"/>
            <a:endCxn id="12" idx="1"/>
          </p:cNvCxnSpPr>
          <p:nvPr/>
        </p:nvCxnSpPr>
        <p:spPr>
          <a:xfrm flipV="1">
            <a:off x="3712330" y="1653267"/>
            <a:ext cx="417066" cy="36736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正方形/長方形 17">
            <a:extLst>
              <a:ext uri="{FF2B5EF4-FFF2-40B4-BE49-F238E27FC236}">
                <a16:creationId xmlns:a16="http://schemas.microsoft.com/office/drawing/2014/main" id="{B85305EE-5993-8388-4926-229A068A2D47}"/>
              </a:ext>
            </a:extLst>
          </p:cNvPr>
          <p:cNvSpPr/>
          <p:nvPr/>
        </p:nvSpPr>
        <p:spPr>
          <a:xfrm>
            <a:off x="2308330" y="3827953"/>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製品規格書</a:t>
            </a:r>
            <a:endParaRPr kumimoji="1" lang="en-US" altLang="ja-JP" sz="105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19" name="正方形/長方形 18">
            <a:extLst>
              <a:ext uri="{FF2B5EF4-FFF2-40B4-BE49-F238E27FC236}">
                <a16:creationId xmlns:a16="http://schemas.microsoft.com/office/drawing/2014/main" id="{2D4A9EF6-BEA3-935F-979C-C6DF0B046C0F}"/>
              </a:ext>
            </a:extLst>
          </p:cNvPr>
          <p:cNvSpPr/>
          <p:nvPr/>
        </p:nvSpPr>
        <p:spPr>
          <a:xfrm>
            <a:off x="4129396" y="3460591"/>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製品規格書作成・登録</a:t>
            </a:r>
            <a:endParaRPr kumimoji="1" lang="en-US" altLang="ja-JP" sz="105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21" name="正方形/長方形 20">
            <a:extLst>
              <a:ext uri="{FF2B5EF4-FFF2-40B4-BE49-F238E27FC236}">
                <a16:creationId xmlns:a16="http://schemas.microsoft.com/office/drawing/2014/main" id="{D5F377DA-8991-CBD9-DEB2-C631C5821F08}"/>
              </a:ext>
            </a:extLst>
          </p:cNvPr>
          <p:cNvSpPr/>
          <p:nvPr/>
        </p:nvSpPr>
        <p:spPr>
          <a:xfrm>
            <a:off x="4129396" y="4195315"/>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製品規格書照会</a:t>
            </a:r>
            <a:endParaRPr kumimoji="1" lang="en-US" altLang="ja-JP" sz="105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22" name="直線矢印コネクタ 52">
            <a:extLst>
              <a:ext uri="{FF2B5EF4-FFF2-40B4-BE49-F238E27FC236}">
                <a16:creationId xmlns:a16="http://schemas.microsoft.com/office/drawing/2014/main" id="{026C6372-24E8-0C75-95F0-EC532F87C8E3}"/>
              </a:ext>
            </a:extLst>
          </p:cNvPr>
          <p:cNvCxnSpPr>
            <a:cxnSpLocks/>
            <a:stCxn id="18" idx="3"/>
            <a:endCxn id="19" idx="1"/>
          </p:cNvCxnSpPr>
          <p:nvPr/>
        </p:nvCxnSpPr>
        <p:spPr>
          <a:xfrm flipV="1">
            <a:off x="3712330" y="3586591"/>
            <a:ext cx="417066" cy="36736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直線矢印コネクタ 52">
            <a:extLst>
              <a:ext uri="{FF2B5EF4-FFF2-40B4-BE49-F238E27FC236}">
                <a16:creationId xmlns:a16="http://schemas.microsoft.com/office/drawing/2014/main" id="{C1CFC255-D82A-A91C-58F4-D31F804F78FB}"/>
              </a:ext>
            </a:extLst>
          </p:cNvPr>
          <p:cNvCxnSpPr>
            <a:cxnSpLocks/>
            <a:stCxn id="18" idx="3"/>
            <a:endCxn id="21" idx="1"/>
          </p:cNvCxnSpPr>
          <p:nvPr/>
        </p:nvCxnSpPr>
        <p:spPr>
          <a:xfrm>
            <a:off x="3712330" y="3953953"/>
            <a:ext cx="417066" cy="36736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1" name="正方形/長方形 30">
            <a:extLst>
              <a:ext uri="{FF2B5EF4-FFF2-40B4-BE49-F238E27FC236}">
                <a16:creationId xmlns:a16="http://schemas.microsoft.com/office/drawing/2014/main" id="{DE966954-9564-D27C-51EC-66F29A0A4069}"/>
              </a:ext>
            </a:extLst>
          </p:cNvPr>
          <p:cNvSpPr/>
          <p:nvPr/>
        </p:nvSpPr>
        <p:spPr>
          <a:xfrm>
            <a:off x="4129396" y="4659192"/>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資料</a:t>
            </a:r>
            <a:r>
              <a:rPr lang="ja-JP" altLang="en-US" sz="1050">
                <a:solidFill>
                  <a:prstClr val="black"/>
                </a:solidFill>
                <a:latin typeface="Yu Gothic UI"/>
                <a:ea typeface="Yu Gothic UI"/>
              </a:rPr>
              <a:t>作成・登録</a:t>
            </a:r>
            <a:endParaRPr kumimoji="1" lang="ja-JP" altLang="en-US" sz="105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32" name="正方形/長方形 31">
            <a:extLst>
              <a:ext uri="{FF2B5EF4-FFF2-40B4-BE49-F238E27FC236}">
                <a16:creationId xmlns:a16="http://schemas.microsoft.com/office/drawing/2014/main" id="{20F21351-0918-6AF4-6B7C-D00F092C806B}"/>
              </a:ext>
            </a:extLst>
          </p:cNvPr>
          <p:cNvSpPr/>
          <p:nvPr/>
        </p:nvSpPr>
        <p:spPr>
          <a:xfrm>
            <a:off x="4129396" y="5073579"/>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資料照会</a:t>
            </a:r>
          </a:p>
        </p:txBody>
      </p:sp>
      <p:sp>
        <p:nvSpPr>
          <p:cNvPr id="33" name="正方形/長方形 32">
            <a:extLst>
              <a:ext uri="{FF2B5EF4-FFF2-40B4-BE49-F238E27FC236}">
                <a16:creationId xmlns:a16="http://schemas.microsoft.com/office/drawing/2014/main" id="{7727D9AC-836F-C7BB-77FC-41D54F08FE8E}"/>
              </a:ext>
            </a:extLst>
          </p:cNvPr>
          <p:cNvSpPr/>
          <p:nvPr/>
        </p:nvSpPr>
        <p:spPr>
          <a:xfrm>
            <a:off x="2308330" y="4898267"/>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資料</a:t>
            </a:r>
          </a:p>
        </p:txBody>
      </p:sp>
      <p:cxnSp>
        <p:nvCxnSpPr>
          <p:cNvPr id="42" name="直線矢印コネクタ 52">
            <a:extLst>
              <a:ext uri="{FF2B5EF4-FFF2-40B4-BE49-F238E27FC236}">
                <a16:creationId xmlns:a16="http://schemas.microsoft.com/office/drawing/2014/main" id="{86859C7E-7FD0-D7D3-97EE-D8740818B5EF}"/>
              </a:ext>
            </a:extLst>
          </p:cNvPr>
          <p:cNvCxnSpPr>
            <a:cxnSpLocks/>
            <a:stCxn id="33" idx="3"/>
            <a:endCxn id="31" idx="1"/>
          </p:cNvCxnSpPr>
          <p:nvPr/>
        </p:nvCxnSpPr>
        <p:spPr>
          <a:xfrm flipV="1">
            <a:off x="3712330" y="4785192"/>
            <a:ext cx="417066" cy="239075"/>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3" name="直線矢印コネクタ 52">
            <a:extLst>
              <a:ext uri="{FF2B5EF4-FFF2-40B4-BE49-F238E27FC236}">
                <a16:creationId xmlns:a16="http://schemas.microsoft.com/office/drawing/2014/main" id="{DD12EB4E-0D15-3098-CB9D-4B2325F7BD60}"/>
              </a:ext>
            </a:extLst>
          </p:cNvPr>
          <p:cNvCxnSpPr>
            <a:cxnSpLocks/>
            <a:stCxn id="33" idx="3"/>
            <a:endCxn id="32" idx="1"/>
          </p:cNvCxnSpPr>
          <p:nvPr/>
        </p:nvCxnSpPr>
        <p:spPr>
          <a:xfrm>
            <a:off x="3712330" y="5024267"/>
            <a:ext cx="417066" cy="17531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 name="テキスト プレースホルダー 4">
            <a:extLst>
              <a:ext uri="{FF2B5EF4-FFF2-40B4-BE49-F238E27FC236}">
                <a16:creationId xmlns:a16="http://schemas.microsoft.com/office/drawing/2014/main" id="{D26E4138-15E8-5742-9FBA-E7FBE80D915F}"/>
              </a:ext>
            </a:extLst>
          </p:cNvPr>
          <p:cNvSpPr txBox="1">
            <a:spLocks/>
          </p:cNvSpPr>
          <p:nvPr/>
        </p:nvSpPr>
        <p:spPr>
          <a:xfrm>
            <a:off x="251524" y="1052963"/>
            <a:ext cx="8640950" cy="36512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2)</a:t>
            </a:r>
            <a:r>
              <a:rPr lang="ja-JP" altLang="en-US" sz="1800"/>
              <a:t>画面遷移図</a:t>
            </a:r>
            <a:r>
              <a:rPr lang="en-US" altLang="ja-JP" sz="1800"/>
              <a:t>(1/2)</a:t>
            </a:r>
            <a:endParaRPr kumimoji="1" lang="en-US" altLang="zh-TW"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100" name="正方形/長方形 99">
            <a:extLst>
              <a:ext uri="{FF2B5EF4-FFF2-40B4-BE49-F238E27FC236}">
                <a16:creationId xmlns:a16="http://schemas.microsoft.com/office/drawing/2014/main" id="{EFAAC406-CE13-E1A4-8474-CEAE3043645F}"/>
              </a:ext>
            </a:extLst>
          </p:cNvPr>
          <p:cNvSpPr/>
          <p:nvPr/>
        </p:nvSpPr>
        <p:spPr>
          <a:xfrm>
            <a:off x="5746832" y="2261990"/>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納入仕様書締結版閲覧</a:t>
            </a:r>
          </a:p>
        </p:txBody>
      </p:sp>
      <p:sp>
        <p:nvSpPr>
          <p:cNvPr id="116" name="正方形/長方形 115">
            <a:extLst>
              <a:ext uri="{FF2B5EF4-FFF2-40B4-BE49-F238E27FC236}">
                <a16:creationId xmlns:a16="http://schemas.microsoft.com/office/drawing/2014/main" id="{8939C458-6168-D5BF-FF0D-ABE2E7E5BFFE}"/>
              </a:ext>
            </a:extLst>
          </p:cNvPr>
          <p:cNvSpPr/>
          <p:nvPr/>
        </p:nvSpPr>
        <p:spPr>
          <a:xfrm>
            <a:off x="7364269" y="2261990"/>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50">
                <a:solidFill>
                  <a:prstClr val="black"/>
                </a:solidFill>
                <a:latin typeface="Yu Gothic UI"/>
                <a:ea typeface="Yu Gothic UI"/>
              </a:rPr>
              <a:t>納入仕様書フロー版閲覧</a:t>
            </a:r>
            <a:endParaRPr kumimoji="1" lang="ja-JP" altLang="en-US" sz="105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122" name="直線矢印コネクタ 121">
            <a:extLst>
              <a:ext uri="{FF2B5EF4-FFF2-40B4-BE49-F238E27FC236}">
                <a16:creationId xmlns:a16="http://schemas.microsoft.com/office/drawing/2014/main" id="{554EEB04-D48D-FB97-6E23-7804658CE7CB}"/>
              </a:ext>
            </a:extLst>
          </p:cNvPr>
          <p:cNvCxnSpPr>
            <a:cxnSpLocks/>
            <a:stCxn id="13" idx="3"/>
            <a:endCxn id="100" idx="1"/>
          </p:cNvCxnSpPr>
          <p:nvPr/>
        </p:nvCxnSpPr>
        <p:spPr>
          <a:xfrm>
            <a:off x="5533396" y="2387990"/>
            <a:ext cx="213436"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5" name="直線矢印コネクタ 124">
            <a:extLst>
              <a:ext uri="{FF2B5EF4-FFF2-40B4-BE49-F238E27FC236}">
                <a16:creationId xmlns:a16="http://schemas.microsoft.com/office/drawing/2014/main" id="{2C0CB89C-E691-1567-C913-125A3AEABF8F}"/>
              </a:ext>
            </a:extLst>
          </p:cNvPr>
          <p:cNvCxnSpPr>
            <a:cxnSpLocks/>
          </p:cNvCxnSpPr>
          <p:nvPr/>
        </p:nvCxnSpPr>
        <p:spPr>
          <a:xfrm>
            <a:off x="7150832" y="2387990"/>
            <a:ext cx="213436"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6" name="直線矢印コネクタ 47">
            <a:extLst>
              <a:ext uri="{FF2B5EF4-FFF2-40B4-BE49-F238E27FC236}">
                <a16:creationId xmlns:a16="http://schemas.microsoft.com/office/drawing/2014/main" id="{1F77B675-8655-F85D-F698-24A76806E3BE}"/>
              </a:ext>
            </a:extLst>
          </p:cNvPr>
          <p:cNvCxnSpPr>
            <a:cxnSpLocks/>
            <a:stCxn id="13" idx="2"/>
            <a:endCxn id="116" idx="2"/>
          </p:cNvCxnSpPr>
          <p:nvPr/>
        </p:nvCxnSpPr>
        <p:spPr>
          <a:xfrm rot="16200000" flipH="1">
            <a:off x="6448832" y="896553"/>
            <a:ext cx="12700" cy="3234873"/>
          </a:xfrm>
          <a:prstGeom prst="bentConnector3">
            <a:avLst>
              <a:gd name="adj1" fmla="val 799976"/>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35" name="正方形/長方形 134">
            <a:extLst>
              <a:ext uri="{FF2B5EF4-FFF2-40B4-BE49-F238E27FC236}">
                <a16:creationId xmlns:a16="http://schemas.microsoft.com/office/drawing/2014/main" id="{77893051-8EAA-013A-E796-77476F55C319}"/>
              </a:ext>
            </a:extLst>
          </p:cNvPr>
          <p:cNvSpPr/>
          <p:nvPr/>
        </p:nvSpPr>
        <p:spPr>
          <a:xfrm>
            <a:off x="7364268" y="1893515"/>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納入仕様書廃棄</a:t>
            </a:r>
          </a:p>
        </p:txBody>
      </p:sp>
      <p:sp>
        <p:nvSpPr>
          <p:cNvPr id="136" name="正方形/長方形 135">
            <a:extLst>
              <a:ext uri="{FF2B5EF4-FFF2-40B4-BE49-F238E27FC236}">
                <a16:creationId xmlns:a16="http://schemas.microsoft.com/office/drawing/2014/main" id="{14D1A913-3EF7-CFEE-A5C9-7FA27896BE7F}"/>
              </a:ext>
            </a:extLst>
          </p:cNvPr>
          <p:cNvSpPr/>
          <p:nvPr/>
        </p:nvSpPr>
        <p:spPr>
          <a:xfrm>
            <a:off x="7364268" y="1525039"/>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納入仕様書改訂</a:t>
            </a:r>
          </a:p>
        </p:txBody>
      </p:sp>
      <p:cxnSp>
        <p:nvCxnSpPr>
          <p:cNvPr id="137" name="直線矢印コネクタ 47">
            <a:extLst>
              <a:ext uri="{FF2B5EF4-FFF2-40B4-BE49-F238E27FC236}">
                <a16:creationId xmlns:a16="http://schemas.microsoft.com/office/drawing/2014/main" id="{95DB5347-CC11-957B-7557-6CB618534B57}"/>
              </a:ext>
            </a:extLst>
          </p:cNvPr>
          <p:cNvCxnSpPr>
            <a:cxnSpLocks/>
            <a:stCxn id="100" idx="0"/>
            <a:endCxn id="136" idx="1"/>
          </p:cNvCxnSpPr>
          <p:nvPr/>
        </p:nvCxnSpPr>
        <p:spPr>
          <a:xfrm rot="5400000" flipH="1" flipV="1">
            <a:off x="6601075" y="1498797"/>
            <a:ext cx="610951" cy="915436"/>
          </a:xfrm>
          <a:prstGeom prst="bentConnector2">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0" name="直線矢印コネクタ 47">
            <a:extLst>
              <a:ext uri="{FF2B5EF4-FFF2-40B4-BE49-F238E27FC236}">
                <a16:creationId xmlns:a16="http://schemas.microsoft.com/office/drawing/2014/main" id="{84781771-D72E-4E9B-6463-25F4E34ADDEF}"/>
              </a:ext>
            </a:extLst>
          </p:cNvPr>
          <p:cNvCxnSpPr>
            <a:cxnSpLocks/>
            <a:stCxn id="100" idx="0"/>
            <a:endCxn id="135" idx="1"/>
          </p:cNvCxnSpPr>
          <p:nvPr/>
        </p:nvCxnSpPr>
        <p:spPr>
          <a:xfrm rot="5400000" flipH="1" flipV="1">
            <a:off x="6785313" y="1683035"/>
            <a:ext cx="242475" cy="915436"/>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49" name="正方形/長方形 148">
            <a:extLst>
              <a:ext uri="{FF2B5EF4-FFF2-40B4-BE49-F238E27FC236}">
                <a16:creationId xmlns:a16="http://schemas.microsoft.com/office/drawing/2014/main" id="{004644D5-9DAE-1860-C784-F2C65078123F}"/>
              </a:ext>
            </a:extLst>
          </p:cNvPr>
          <p:cNvSpPr/>
          <p:nvPr/>
        </p:nvSpPr>
        <p:spPr>
          <a:xfrm>
            <a:off x="7364269" y="2675532"/>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50">
                <a:solidFill>
                  <a:prstClr val="black"/>
                </a:solidFill>
                <a:latin typeface="Yu Gothic UI"/>
                <a:ea typeface="Yu Gothic UI"/>
              </a:rPr>
              <a:t>納入仕様書旧版閲覧</a:t>
            </a:r>
            <a:endParaRPr kumimoji="1" lang="ja-JP" altLang="en-US" sz="105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165" name="直線矢印コネクタ 52">
            <a:extLst>
              <a:ext uri="{FF2B5EF4-FFF2-40B4-BE49-F238E27FC236}">
                <a16:creationId xmlns:a16="http://schemas.microsoft.com/office/drawing/2014/main" id="{C48535E0-19E6-2656-60DE-82E0A02CF4BC}"/>
              </a:ext>
            </a:extLst>
          </p:cNvPr>
          <p:cNvCxnSpPr>
            <a:cxnSpLocks/>
            <a:stCxn id="149" idx="3"/>
            <a:endCxn id="116" idx="3"/>
          </p:cNvCxnSpPr>
          <p:nvPr/>
        </p:nvCxnSpPr>
        <p:spPr>
          <a:xfrm flipV="1">
            <a:off x="8768269" y="2387990"/>
            <a:ext cx="12700" cy="413542"/>
          </a:xfrm>
          <a:prstGeom prst="bentConnector3">
            <a:avLst>
              <a:gd name="adj1" fmla="val 180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74" name="正方形/長方形 173">
            <a:extLst>
              <a:ext uri="{FF2B5EF4-FFF2-40B4-BE49-F238E27FC236}">
                <a16:creationId xmlns:a16="http://schemas.microsoft.com/office/drawing/2014/main" id="{708A07D3-04A3-C6DA-FB6D-01A8154E5B27}"/>
              </a:ext>
            </a:extLst>
          </p:cNvPr>
          <p:cNvSpPr/>
          <p:nvPr/>
        </p:nvSpPr>
        <p:spPr>
          <a:xfrm>
            <a:off x="5746832" y="4195315"/>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製品規格書閲覧</a:t>
            </a:r>
          </a:p>
        </p:txBody>
      </p:sp>
      <p:sp>
        <p:nvSpPr>
          <p:cNvPr id="175" name="正方形/長方形 174">
            <a:extLst>
              <a:ext uri="{FF2B5EF4-FFF2-40B4-BE49-F238E27FC236}">
                <a16:creationId xmlns:a16="http://schemas.microsoft.com/office/drawing/2014/main" id="{ECB50186-1B8A-488D-83D5-69690C2FF95D}"/>
              </a:ext>
            </a:extLst>
          </p:cNvPr>
          <p:cNvSpPr/>
          <p:nvPr/>
        </p:nvSpPr>
        <p:spPr>
          <a:xfrm>
            <a:off x="7364269" y="4195315"/>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50">
                <a:solidFill>
                  <a:prstClr val="black"/>
                </a:solidFill>
                <a:latin typeface="Yu Gothic UI"/>
                <a:ea typeface="Yu Gothic UI"/>
              </a:rPr>
              <a:t>製品仕様書旧版閲覧</a:t>
            </a:r>
            <a:endParaRPr kumimoji="1" lang="ja-JP" altLang="en-US" sz="105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176" name="直線矢印コネクタ 175">
            <a:extLst>
              <a:ext uri="{FF2B5EF4-FFF2-40B4-BE49-F238E27FC236}">
                <a16:creationId xmlns:a16="http://schemas.microsoft.com/office/drawing/2014/main" id="{B9E24C67-C634-8A30-6891-C495A6038CB4}"/>
              </a:ext>
            </a:extLst>
          </p:cNvPr>
          <p:cNvCxnSpPr>
            <a:cxnSpLocks/>
            <a:endCxn id="174" idx="1"/>
          </p:cNvCxnSpPr>
          <p:nvPr/>
        </p:nvCxnSpPr>
        <p:spPr>
          <a:xfrm>
            <a:off x="5533396" y="4321315"/>
            <a:ext cx="213436"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7" name="直線矢印コネクタ 176">
            <a:extLst>
              <a:ext uri="{FF2B5EF4-FFF2-40B4-BE49-F238E27FC236}">
                <a16:creationId xmlns:a16="http://schemas.microsoft.com/office/drawing/2014/main" id="{9DBD09AC-3895-3E9B-855C-D37C4E040007}"/>
              </a:ext>
            </a:extLst>
          </p:cNvPr>
          <p:cNvCxnSpPr>
            <a:cxnSpLocks/>
          </p:cNvCxnSpPr>
          <p:nvPr/>
        </p:nvCxnSpPr>
        <p:spPr>
          <a:xfrm>
            <a:off x="7150832" y="4321315"/>
            <a:ext cx="213436"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78" name="正方形/長方形 177">
            <a:extLst>
              <a:ext uri="{FF2B5EF4-FFF2-40B4-BE49-F238E27FC236}">
                <a16:creationId xmlns:a16="http://schemas.microsoft.com/office/drawing/2014/main" id="{AC77F1E5-1F1D-3E15-087C-F9E23CD91B82}"/>
              </a:ext>
            </a:extLst>
          </p:cNvPr>
          <p:cNvSpPr/>
          <p:nvPr/>
        </p:nvSpPr>
        <p:spPr>
          <a:xfrm>
            <a:off x="7364268" y="3785207"/>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製品規格書廃棄</a:t>
            </a:r>
          </a:p>
        </p:txBody>
      </p:sp>
      <p:sp>
        <p:nvSpPr>
          <p:cNvPr id="179" name="正方形/長方形 178">
            <a:extLst>
              <a:ext uri="{FF2B5EF4-FFF2-40B4-BE49-F238E27FC236}">
                <a16:creationId xmlns:a16="http://schemas.microsoft.com/office/drawing/2014/main" id="{FAD8B0E5-0A31-A0AC-9A78-2915089F5CF7}"/>
              </a:ext>
            </a:extLst>
          </p:cNvPr>
          <p:cNvSpPr/>
          <p:nvPr/>
        </p:nvSpPr>
        <p:spPr>
          <a:xfrm>
            <a:off x="7364268" y="3416731"/>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製品規格書改訂</a:t>
            </a:r>
          </a:p>
        </p:txBody>
      </p:sp>
      <p:cxnSp>
        <p:nvCxnSpPr>
          <p:cNvPr id="180" name="直線矢印コネクタ 47">
            <a:extLst>
              <a:ext uri="{FF2B5EF4-FFF2-40B4-BE49-F238E27FC236}">
                <a16:creationId xmlns:a16="http://schemas.microsoft.com/office/drawing/2014/main" id="{2ACCC00B-7E3A-F74A-E417-C4D54A5B84D4}"/>
              </a:ext>
            </a:extLst>
          </p:cNvPr>
          <p:cNvCxnSpPr>
            <a:cxnSpLocks/>
            <a:stCxn id="174" idx="0"/>
            <a:endCxn id="179" idx="1"/>
          </p:cNvCxnSpPr>
          <p:nvPr/>
        </p:nvCxnSpPr>
        <p:spPr>
          <a:xfrm rot="5400000" flipH="1" flipV="1">
            <a:off x="6580258" y="3411305"/>
            <a:ext cx="652584" cy="915436"/>
          </a:xfrm>
          <a:prstGeom prst="bentConnector2">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1" name="直線矢印コネクタ 47">
            <a:extLst>
              <a:ext uri="{FF2B5EF4-FFF2-40B4-BE49-F238E27FC236}">
                <a16:creationId xmlns:a16="http://schemas.microsoft.com/office/drawing/2014/main" id="{0EC59176-684A-326D-6FEC-DC82371914C6}"/>
              </a:ext>
            </a:extLst>
          </p:cNvPr>
          <p:cNvCxnSpPr>
            <a:cxnSpLocks/>
            <a:stCxn id="174" idx="0"/>
            <a:endCxn id="178" idx="1"/>
          </p:cNvCxnSpPr>
          <p:nvPr/>
        </p:nvCxnSpPr>
        <p:spPr>
          <a:xfrm rot="5400000" flipH="1" flipV="1">
            <a:off x="6764496" y="3595543"/>
            <a:ext cx="284108" cy="915436"/>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90" name="正方形/長方形 189">
            <a:extLst>
              <a:ext uri="{FF2B5EF4-FFF2-40B4-BE49-F238E27FC236}">
                <a16:creationId xmlns:a16="http://schemas.microsoft.com/office/drawing/2014/main" id="{C55567AE-3707-F092-8316-53803A762EA4}"/>
              </a:ext>
            </a:extLst>
          </p:cNvPr>
          <p:cNvSpPr/>
          <p:nvPr/>
        </p:nvSpPr>
        <p:spPr>
          <a:xfrm>
            <a:off x="5746832" y="5078386"/>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資料編集</a:t>
            </a:r>
          </a:p>
        </p:txBody>
      </p:sp>
      <p:cxnSp>
        <p:nvCxnSpPr>
          <p:cNvPr id="191" name="直線矢印コネクタ 190">
            <a:extLst>
              <a:ext uri="{FF2B5EF4-FFF2-40B4-BE49-F238E27FC236}">
                <a16:creationId xmlns:a16="http://schemas.microsoft.com/office/drawing/2014/main" id="{D235A8C2-A922-3CB2-4C23-681D6A954D7B}"/>
              </a:ext>
            </a:extLst>
          </p:cNvPr>
          <p:cNvCxnSpPr>
            <a:cxnSpLocks/>
            <a:endCxn id="190" idx="1"/>
          </p:cNvCxnSpPr>
          <p:nvPr/>
        </p:nvCxnSpPr>
        <p:spPr>
          <a:xfrm>
            <a:off x="5533396" y="5204386"/>
            <a:ext cx="213436"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3" name="直線矢印コネクタ 54">
            <a:extLst>
              <a:ext uri="{FF2B5EF4-FFF2-40B4-BE49-F238E27FC236}">
                <a16:creationId xmlns:a16="http://schemas.microsoft.com/office/drawing/2014/main" id="{40D357F1-44D3-A0A7-8E5F-A45522C2D9A2}"/>
              </a:ext>
            </a:extLst>
          </p:cNvPr>
          <p:cNvCxnSpPr>
            <a:cxnSpLocks/>
            <a:stCxn id="11" idx="3"/>
            <a:endCxn id="231" idx="0"/>
          </p:cNvCxnSpPr>
          <p:nvPr/>
        </p:nvCxnSpPr>
        <p:spPr>
          <a:xfrm>
            <a:off x="1666351" y="2020629"/>
            <a:ext cx="320989" cy="4241311"/>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6" name="直線矢印コネクタ 47">
            <a:extLst>
              <a:ext uri="{FF2B5EF4-FFF2-40B4-BE49-F238E27FC236}">
                <a16:creationId xmlns:a16="http://schemas.microsoft.com/office/drawing/2014/main" id="{7A00BC8C-F0E6-5A26-4D22-52C9A9DC2656}"/>
              </a:ext>
            </a:extLst>
          </p:cNvPr>
          <p:cNvCxnSpPr>
            <a:cxnSpLocks/>
            <a:stCxn id="13" idx="2"/>
            <a:endCxn id="149" idx="1"/>
          </p:cNvCxnSpPr>
          <p:nvPr/>
        </p:nvCxnSpPr>
        <p:spPr>
          <a:xfrm rot="16200000" flipH="1">
            <a:off x="5954061" y="1391324"/>
            <a:ext cx="287542" cy="2532873"/>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19" name="スライド番号プレースホルダー 1">
            <a:extLst>
              <a:ext uri="{FF2B5EF4-FFF2-40B4-BE49-F238E27FC236}">
                <a16:creationId xmlns:a16="http://schemas.microsoft.com/office/drawing/2014/main" id="{28942CA0-03E4-28CF-B3B5-F5A59116AC2A}"/>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231" name="楕円 230">
            <a:extLst>
              <a:ext uri="{FF2B5EF4-FFF2-40B4-BE49-F238E27FC236}">
                <a16:creationId xmlns:a16="http://schemas.microsoft.com/office/drawing/2014/main" id="{9EC5A842-4EBE-782F-14D5-422E89C12431}"/>
              </a:ext>
            </a:extLst>
          </p:cNvPr>
          <p:cNvSpPr/>
          <p:nvPr/>
        </p:nvSpPr>
        <p:spPr>
          <a:xfrm>
            <a:off x="1823931" y="6261940"/>
            <a:ext cx="326817" cy="332094"/>
          </a:xfrm>
          <a:prstGeom prst="ellipse">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400">
                <a:solidFill>
                  <a:schemeClr val="tx1"/>
                </a:solidFill>
              </a:rPr>
              <a:t>1</a:t>
            </a:r>
            <a:endParaRPr kumimoji="1" lang="ja-JP" altLang="en-US" sz="1400">
              <a:solidFill>
                <a:schemeClr val="tx1"/>
              </a:solidFill>
            </a:endParaRPr>
          </a:p>
        </p:txBody>
      </p:sp>
      <p:sp>
        <p:nvSpPr>
          <p:cNvPr id="10" name="正方形/長方形 9">
            <a:extLst>
              <a:ext uri="{FF2B5EF4-FFF2-40B4-BE49-F238E27FC236}">
                <a16:creationId xmlns:a16="http://schemas.microsoft.com/office/drawing/2014/main" id="{CE09B249-DB9A-52E0-9755-812515942275}"/>
              </a:ext>
            </a:extLst>
          </p:cNvPr>
          <p:cNvSpPr/>
          <p:nvPr/>
        </p:nvSpPr>
        <p:spPr>
          <a:xfrm>
            <a:off x="4129396" y="5542263"/>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お知らせ</a:t>
            </a:r>
            <a:r>
              <a:rPr lang="ja-JP" altLang="en-US" sz="1050">
                <a:solidFill>
                  <a:prstClr val="black"/>
                </a:solidFill>
                <a:latin typeface="Yu Gothic UI"/>
                <a:ea typeface="Yu Gothic UI"/>
              </a:rPr>
              <a:t>作成・登録</a:t>
            </a:r>
            <a:endParaRPr kumimoji="1" lang="ja-JP" altLang="en-US" sz="105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17" name="正方形/長方形 16">
            <a:extLst>
              <a:ext uri="{FF2B5EF4-FFF2-40B4-BE49-F238E27FC236}">
                <a16:creationId xmlns:a16="http://schemas.microsoft.com/office/drawing/2014/main" id="{05CE0A89-D92D-1642-8813-B2576F5D3461}"/>
              </a:ext>
            </a:extLst>
          </p:cNvPr>
          <p:cNvSpPr/>
          <p:nvPr/>
        </p:nvSpPr>
        <p:spPr>
          <a:xfrm>
            <a:off x="4129396" y="5956650"/>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お知らせ照会</a:t>
            </a:r>
          </a:p>
        </p:txBody>
      </p:sp>
      <p:sp>
        <p:nvSpPr>
          <p:cNvPr id="20" name="正方形/長方形 19">
            <a:extLst>
              <a:ext uri="{FF2B5EF4-FFF2-40B4-BE49-F238E27FC236}">
                <a16:creationId xmlns:a16="http://schemas.microsoft.com/office/drawing/2014/main" id="{3707FECD-22D8-7876-7B51-4C9A6F5217E3}"/>
              </a:ext>
            </a:extLst>
          </p:cNvPr>
          <p:cNvSpPr/>
          <p:nvPr/>
        </p:nvSpPr>
        <p:spPr>
          <a:xfrm>
            <a:off x="2308330" y="5781338"/>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お知らせ</a:t>
            </a:r>
          </a:p>
        </p:txBody>
      </p:sp>
      <p:cxnSp>
        <p:nvCxnSpPr>
          <p:cNvPr id="25" name="直線矢印コネクタ 52">
            <a:extLst>
              <a:ext uri="{FF2B5EF4-FFF2-40B4-BE49-F238E27FC236}">
                <a16:creationId xmlns:a16="http://schemas.microsoft.com/office/drawing/2014/main" id="{F445EC47-2080-14AB-0AE4-EA8E012CD0F0}"/>
              </a:ext>
            </a:extLst>
          </p:cNvPr>
          <p:cNvCxnSpPr>
            <a:cxnSpLocks/>
            <a:stCxn id="20" idx="3"/>
            <a:endCxn id="10" idx="1"/>
          </p:cNvCxnSpPr>
          <p:nvPr/>
        </p:nvCxnSpPr>
        <p:spPr>
          <a:xfrm flipV="1">
            <a:off x="3712330" y="5668263"/>
            <a:ext cx="417066" cy="239075"/>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直線矢印コネクタ 52">
            <a:extLst>
              <a:ext uri="{FF2B5EF4-FFF2-40B4-BE49-F238E27FC236}">
                <a16:creationId xmlns:a16="http://schemas.microsoft.com/office/drawing/2014/main" id="{2549CEFB-BADB-AEF5-97AC-26CD7B78FD81}"/>
              </a:ext>
            </a:extLst>
          </p:cNvPr>
          <p:cNvCxnSpPr>
            <a:cxnSpLocks/>
            <a:stCxn id="20" idx="3"/>
            <a:endCxn id="17" idx="1"/>
          </p:cNvCxnSpPr>
          <p:nvPr/>
        </p:nvCxnSpPr>
        <p:spPr>
          <a:xfrm>
            <a:off x="3712330" y="5907338"/>
            <a:ext cx="417066" cy="17531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正方形/長方形 26">
            <a:extLst>
              <a:ext uri="{FF2B5EF4-FFF2-40B4-BE49-F238E27FC236}">
                <a16:creationId xmlns:a16="http://schemas.microsoft.com/office/drawing/2014/main" id="{2A6810B1-598E-B30B-1785-0D0921F09D2D}"/>
              </a:ext>
            </a:extLst>
          </p:cNvPr>
          <p:cNvSpPr/>
          <p:nvPr/>
        </p:nvSpPr>
        <p:spPr>
          <a:xfrm>
            <a:off x="5746832" y="5961457"/>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お知らせ編集</a:t>
            </a:r>
          </a:p>
        </p:txBody>
      </p:sp>
      <p:cxnSp>
        <p:nvCxnSpPr>
          <p:cNvPr id="28" name="直線矢印コネクタ 27">
            <a:extLst>
              <a:ext uri="{FF2B5EF4-FFF2-40B4-BE49-F238E27FC236}">
                <a16:creationId xmlns:a16="http://schemas.microsoft.com/office/drawing/2014/main" id="{51C3ECF9-0250-8D79-263A-9E6E1C178DB2}"/>
              </a:ext>
            </a:extLst>
          </p:cNvPr>
          <p:cNvCxnSpPr>
            <a:cxnSpLocks/>
            <a:endCxn id="27" idx="1"/>
          </p:cNvCxnSpPr>
          <p:nvPr/>
        </p:nvCxnSpPr>
        <p:spPr>
          <a:xfrm>
            <a:off x="5533396" y="6087457"/>
            <a:ext cx="213436"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直線矢印コネクタ 54">
            <a:extLst>
              <a:ext uri="{FF2B5EF4-FFF2-40B4-BE49-F238E27FC236}">
                <a16:creationId xmlns:a16="http://schemas.microsoft.com/office/drawing/2014/main" id="{1AF535EB-D18D-7F19-9F12-A06DD512360C}"/>
              </a:ext>
            </a:extLst>
          </p:cNvPr>
          <p:cNvCxnSpPr>
            <a:cxnSpLocks/>
            <a:stCxn id="11" idx="3"/>
            <a:endCxn id="20" idx="1"/>
          </p:cNvCxnSpPr>
          <p:nvPr/>
        </p:nvCxnSpPr>
        <p:spPr>
          <a:xfrm>
            <a:off x="1666351" y="2020629"/>
            <a:ext cx="641979" cy="3886709"/>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95310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84D1DA-97ED-2719-33EF-A13650BDF7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2A84D1DA-97ED-2719-33EF-A13650BDF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C0CD4ED1-0F74-83B6-F4AC-8C87103B97BF}"/>
              </a:ext>
            </a:extLst>
          </p:cNvPr>
          <p:cNvSpPr>
            <a:spLocks noGrp="1"/>
          </p:cNvSpPr>
          <p:nvPr>
            <p:ph type="title"/>
          </p:nvPr>
        </p:nvSpPr>
        <p:spPr/>
        <p:txBody>
          <a:bodyPr vert="horz"/>
          <a:lstStyle/>
          <a:p>
            <a:r>
              <a:rPr lang="ja-JP" altLang="en-US"/>
              <a:t>２．機能要件</a:t>
            </a:r>
            <a:endParaRPr kumimoji="1" lang="ja-JP" altLang="en-US"/>
          </a:p>
        </p:txBody>
      </p:sp>
      <p:cxnSp>
        <p:nvCxnSpPr>
          <p:cNvPr id="63" name="直線矢印コネクタ 54">
            <a:extLst>
              <a:ext uri="{FF2B5EF4-FFF2-40B4-BE49-F238E27FC236}">
                <a16:creationId xmlns:a16="http://schemas.microsoft.com/office/drawing/2014/main" id="{3C7D80C4-514F-66F9-3983-5323B434EBE8}"/>
              </a:ext>
            </a:extLst>
          </p:cNvPr>
          <p:cNvCxnSpPr>
            <a:cxnSpLocks/>
            <a:stCxn id="2" idx="4"/>
            <a:endCxn id="35" idx="1"/>
          </p:cNvCxnSpPr>
          <p:nvPr/>
        </p:nvCxnSpPr>
        <p:spPr>
          <a:xfrm rot="16200000" flipH="1">
            <a:off x="651968" y="3085554"/>
            <a:ext cx="2991735" cy="32099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35" name="正方形/長方形 34">
            <a:extLst>
              <a:ext uri="{FF2B5EF4-FFF2-40B4-BE49-F238E27FC236}">
                <a16:creationId xmlns:a16="http://schemas.microsoft.com/office/drawing/2014/main" id="{EB859FA2-D846-36FC-D426-A73BED3983E8}"/>
              </a:ext>
            </a:extLst>
          </p:cNvPr>
          <p:cNvSpPr/>
          <p:nvPr/>
        </p:nvSpPr>
        <p:spPr>
          <a:xfrm>
            <a:off x="2308330" y="4615917"/>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マスタ</a:t>
            </a:r>
            <a:endParaRPr kumimoji="1" lang="en-US" altLang="ja-JP" sz="105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36" name="正方形/長方形 35">
            <a:extLst>
              <a:ext uri="{FF2B5EF4-FFF2-40B4-BE49-F238E27FC236}">
                <a16:creationId xmlns:a16="http://schemas.microsoft.com/office/drawing/2014/main" id="{1B34CB90-071C-E8FD-1117-55BB62DB41DE}"/>
              </a:ext>
            </a:extLst>
          </p:cNvPr>
          <p:cNvSpPr/>
          <p:nvPr/>
        </p:nvSpPr>
        <p:spPr>
          <a:xfrm>
            <a:off x="4129396" y="4434784"/>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マスタ登録</a:t>
            </a:r>
            <a:endParaRPr kumimoji="1" lang="en-US" altLang="ja-JP" sz="105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38" name="正方形/長方形 37">
            <a:extLst>
              <a:ext uri="{FF2B5EF4-FFF2-40B4-BE49-F238E27FC236}">
                <a16:creationId xmlns:a16="http://schemas.microsoft.com/office/drawing/2014/main" id="{CFBD0683-8EAD-1253-5903-436794324D63}"/>
              </a:ext>
            </a:extLst>
          </p:cNvPr>
          <p:cNvSpPr/>
          <p:nvPr/>
        </p:nvSpPr>
        <p:spPr>
          <a:xfrm>
            <a:off x="4129396" y="4802146"/>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マスタ照会</a:t>
            </a:r>
            <a:endParaRPr kumimoji="1" lang="en-US" altLang="ja-JP" sz="105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45" name="直線矢印コネクタ 52">
            <a:extLst>
              <a:ext uri="{FF2B5EF4-FFF2-40B4-BE49-F238E27FC236}">
                <a16:creationId xmlns:a16="http://schemas.microsoft.com/office/drawing/2014/main" id="{A50974C0-3B4F-637F-EAEC-FC5DA5C83881}"/>
              </a:ext>
            </a:extLst>
          </p:cNvPr>
          <p:cNvCxnSpPr>
            <a:cxnSpLocks/>
            <a:stCxn id="35" idx="3"/>
            <a:endCxn id="36" idx="1"/>
          </p:cNvCxnSpPr>
          <p:nvPr/>
        </p:nvCxnSpPr>
        <p:spPr>
          <a:xfrm flipV="1">
            <a:off x="3712330" y="4560784"/>
            <a:ext cx="417066" cy="181133"/>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直線矢印コネクタ 52">
            <a:extLst>
              <a:ext uri="{FF2B5EF4-FFF2-40B4-BE49-F238E27FC236}">
                <a16:creationId xmlns:a16="http://schemas.microsoft.com/office/drawing/2014/main" id="{1ED8B4C6-B496-7772-D5C0-B7AD5058CF87}"/>
              </a:ext>
            </a:extLst>
          </p:cNvPr>
          <p:cNvCxnSpPr>
            <a:cxnSpLocks/>
            <a:stCxn id="35" idx="3"/>
            <a:endCxn id="38" idx="1"/>
          </p:cNvCxnSpPr>
          <p:nvPr/>
        </p:nvCxnSpPr>
        <p:spPr>
          <a:xfrm>
            <a:off x="3712330" y="4741917"/>
            <a:ext cx="417066" cy="186229"/>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 name="テキスト プレースホルダー 4">
            <a:extLst>
              <a:ext uri="{FF2B5EF4-FFF2-40B4-BE49-F238E27FC236}">
                <a16:creationId xmlns:a16="http://schemas.microsoft.com/office/drawing/2014/main" id="{D26E4138-15E8-5742-9FBA-E7FBE80D915F}"/>
              </a:ext>
            </a:extLst>
          </p:cNvPr>
          <p:cNvSpPr txBox="1">
            <a:spLocks/>
          </p:cNvSpPr>
          <p:nvPr/>
        </p:nvSpPr>
        <p:spPr>
          <a:xfrm>
            <a:off x="251524" y="1052963"/>
            <a:ext cx="8640950" cy="36512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2)</a:t>
            </a:r>
            <a:r>
              <a:rPr lang="ja-JP" altLang="en-US" sz="1800"/>
              <a:t>画面遷移図</a:t>
            </a:r>
            <a:r>
              <a:rPr kumimoji="1" lang="en-US" altLang="ja-JP" sz="1800" b="0" i="0" u="none" strike="noStrike" kern="1200" cap="none" spc="0" normalizeH="0" baseline="0" noProof="0">
                <a:ln>
                  <a:noFill/>
                </a:ln>
                <a:solidFill>
                  <a:prstClr val="black"/>
                </a:solidFill>
                <a:effectLst/>
                <a:uLnTx/>
                <a:uFillTx/>
                <a:latin typeface="Yu Gothic UI"/>
                <a:ea typeface="Yu Gothic UI"/>
                <a:cs typeface="+mn-cs"/>
              </a:rPr>
              <a:t>(2/2)</a:t>
            </a:r>
            <a:endParaRPr kumimoji="1" lang="en-US" altLang="zh-TW"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199" name="正方形/長方形 198">
            <a:extLst>
              <a:ext uri="{FF2B5EF4-FFF2-40B4-BE49-F238E27FC236}">
                <a16:creationId xmlns:a16="http://schemas.microsoft.com/office/drawing/2014/main" id="{AD0C3EC5-AB64-DCEF-E355-A5AC5F5EEFC6}"/>
              </a:ext>
            </a:extLst>
          </p:cNvPr>
          <p:cNvSpPr/>
          <p:nvPr/>
        </p:nvSpPr>
        <p:spPr>
          <a:xfrm>
            <a:off x="5746832" y="4814846"/>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マスタ編集</a:t>
            </a:r>
          </a:p>
        </p:txBody>
      </p:sp>
      <p:cxnSp>
        <p:nvCxnSpPr>
          <p:cNvPr id="200" name="直線矢印コネクタ 199">
            <a:extLst>
              <a:ext uri="{FF2B5EF4-FFF2-40B4-BE49-F238E27FC236}">
                <a16:creationId xmlns:a16="http://schemas.microsoft.com/office/drawing/2014/main" id="{6EE866C3-1C38-E56B-9E65-07AD40FD6B61}"/>
              </a:ext>
            </a:extLst>
          </p:cNvPr>
          <p:cNvCxnSpPr>
            <a:cxnSpLocks/>
            <a:endCxn id="199" idx="1"/>
          </p:cNvCxnSpPr>
          <p:nvPr/>
        </p:nvCxnSpPr>
        <p:spPr>
          <a:xfrm>
            <a:off x="5533396" y="4940846"/>
            <a:ext cx="213436"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06" name="正方形/長方形 205">
            <a:extLst>
              <a:ext uri="{FF2B5EF4-FFF2-40B4-BE49-F238E27FC236}">
                <a16:creationId xmlns:a16="http://schemas.microsoft.com/office/drawing/2014/main" id="{5B6F375D-40BB-79EB-DC20-6B47AF55D973}"/>
              </a:ext>
            </a:extLst>
          </p:cNvPr>
          <p:cNvSpPr/>
          <p:nvPr/>
        </p:nvSpPr>
        <p:spPr>
          <a:xfrm>
            <a:off x="2308330" y="5754025"/>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管理者用</a:t>
            </a:r>
            <a:endParaRPr kumimoji="1" lang="en-US" altLang="ja-JP" sz="105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207" name="正方形/長方形 206">
            <a:extLst>
              <a:ext uri="{FF2B5EF4-FFF2-40B4-BE49-F238E27FC236}">
                <a16:creationId xmlns:a16="http://schemas.microsoft.com/office/drawing/2014/main" id="{68C0F955-048B-4332-B36D-655A83590DEF}"/>
              </a:ext>
            </a:extLst>
          </p:cNvPr>
          <p:cNvSpPr/>
          <p:nvPr/>
        </p:nvSpPr>
        <p:spPr>
          <a:xfrm>
            <a:off x="4129396" y="5572892"/>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50">
                <a:solidFill>
                  <a:prstClr val="black"/>
                </a:solidFill>
                <a:latin typeface="Yu Gothic UI"/>
                <a:ea typeface="Yu Gothic UI"/>
              </a:rPr>
              <a:t>システム情報</a:t>
            </a: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作成・登録</a:t>
            </a:r>
            <a:endParaRPr kumimoji="1" lang="en-US" altLang="ja-JP" sz="105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208" name="正方形/長方形 207">
            <a:extLst>
              <a:ext uri="{FF2B5EF4-FFF2-40B4-BE49-F238E27FC236}">
                <a16:creationId xmlns:a16="http://schemas.microsoft.com/office/drawing/2014/main" id="{2C44567B-889B-991B-76AD-04CFBA2FA8A4}"/>
              </a:ext>
            </a:extLst>
          </p:cNvPr>
          <p:cNvSpPr/>
          <p:nvPr/>
        </p:nvSpPr>
        <p:spPr>
          <a:xfrm>
            <a:off x="4129396" y="5940254"/>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システム情報照会</a:t>
            </a:r>
            <a:endParaRPr kumimoji="1" lang="en-US" altLang="ja-JP" sz="105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209" name="直線矢印コネクタ 52">
            <a:extLst>
              <a:ext uri="{FF2B5EF4-FFF2-40B4-BE49-F238E27FC236}">
                <a16:creationId xmlns:a16="http://schemas.microsoft.com/office/drawing/2014/main" id="{D0C93994-1CC7-D513-8F66-8CCD14E99270}"/>
              </a:ext>
            </a:extLst>
          </p:cNvPr>
          <p:cNvCxnSpPr>
            <a:cxnSpLocks/>
            <a:stCxn id="206" idx="3"/>
            <a:endCxn id="207" idx="1"/>
          </p:cNvCxnSpPr>
          <p:nvPr/>
        </p:nvCxnSpPr>
        <p:spPr>
          <a:xfrm flipV="1">
            <a:off x="3712330" y="5698892"/>
            <a:ext cx="417066" cy="181133"/>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0" name="直線矢印コネクタ 52">
            <a:extLst>
              <a:ext uri="{FF2B5EF4-FFF2-40B4-BE49-F238E27FC236}">
                <a16:creationId xmlns:a16="http://schemas.microsoft.com/office/drawing/2014/main" id="{94B0BC29-0F19-F0E7-E77F-4B8F0E7390D7}"/>
              </a:ext>
            </a:extLst>
          </p:cNvPr>
          <p:cNvCxnSpPr>
            <a:cxnSpLocks/>
            <a:stCxn id="206" idx="3"/>
            <a:endCxn id="208" idx="1"/>
          </p:cNvCxnSpPr>
          <p:nvPr/>
        </p:nvCxnSpPr>
        <p:spPr>
          <a:xfrm>
            <a:off x="3712330" y="5880025"/>
            <a:ext cx="417066" cy="186229"/>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11" name="正方形/長方形 210">
            <a:extLst>
              <a:ext uri="{FF2B5EF4-FFF2-40B4-BE49-F238E27FC236}">
                <a16:creationId xmlns:a16="http://schemas.microsoft.com/office/drawing/2014/main" id="{4E2BDA79-E55E-738A-29B2-6E0A6BF5B895}"/>
              </a:ext>
            </a:extLst>
          </p:cNvPr>
          <p:cNvSpPr/>
          <p:nvPr/>
        </p:nvSpPr>
        <p:spPr>
          <a:xfrm>
            <a:off x="5746832" y="5952954"/>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システム情報編集</a:t>
            </a:r>
          </a:p>
        </p:txBody>
      </p:sp>
      <p:cxnSp>
        <p:nvCxnSpPr>
          <p:cNvPr id="212" name="直線矢印コネクタ 211">
            <a:extLst>
              <a:ext uri="{FF2B5EF4-FFF2-40B4-BE49-F238E27FC236}">
                <a16:creationId xmlns:a16="http://schemas.microsoft.com/office/drawing/2014/main" id="{D79AE391-A60D-49AA-0C2B-95B57B280A48}"/>
              </a:ext>
            </a:extLst>
          </p:cNvPr>
          <p:cNvCxnSpPr>
            <a:cxnSpLocks/>
            <a:endCxn id="211" idx="1"/>
          </p:cNvCxnSpPr>
          <p:nvPr/>
        </p:nvCxnSpPr>
        <p:spPr>
          <a:xfrm>
            <a:off x="5533396" y="6078954"/>
            <a:ext cx="213436"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3" name="直線矢印コネクタ 54">
            <a:extLst>
              <a:ext uri="{FF2B5EF4-FFF2-40B4-BE49-F238E27FC236}">
                <a16:creationId xmlns:a16="http://schemas.microsoft.com/office/drawing/2014/main" id="{40D357F1-44D3-A0A7-8E5F-A45522C2D9A2}"/>
              </a:ext>
            </a:extLst>
          </p:cNvPr>
          <p:cNvCxnSpPr>
            <a:cxnSpLocks/>
            <a:stCxn id="2" idx="4"/>
            <a:endCxn id="206" idx="1"/>
          </p:cNvCxnSpPr>
          <p:nvPr/>
        </p:nvCxnSpPr>
        <p:spPr>
          <a:xfrm rot="16200000" flipH="1">
            <a:off x="82914" y="3654608"/>
            <a:ext cx="4129843" cy="32099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219" name="スライド番号プレースホルダー 1">
            <a:extLst>
              <a:ext uri="{FF2B5EF4-FFF2-40B4-BE49-F238E27FC236}">
                <a16:creationId xmlns:a16="http://schemas.microsoft.com/office/drawing/2014/main" id="{28942CA0-03E4-28CF-B3B5-F5A59116AC2A}"/>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2" name="楕円 1">
            <a:extLst>
              <a:ext uri="{FF2B5EF4-FFF2-40B4-BE49-F238E27FC236}">
                <a16:creationId xmlns:a16="http://schemas.microsoft.com/office/drawing/2014/main" id="{A7C41562-356F-FBC5-C022-4148EFDB9B83}"/>
              </a:ext>
            </a:extLst>
          </p:cNvPr>
          <p:cNvSpPr/>
          <p:nvPr/>
        </p:nvSpPr>
        <p:spPr>
          <a:xfrm>
            <a:off x="1823931" y="1418088"/>
            <a:ext cx="326817" cy="332094"/>
          </a:xfrm>
          <a:prstGeom prst="ellipse">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400">
                <a:solidFill>
                  <a:schemeClr val="tx1"/>
                </a:solidFill>
              </a:rPr>
              <a:t>1</a:t>
            </a:r>
            <a:endParaRPr kumimoji="1" lang="ja-JP" altLang="en-US" sz="1400">
              <a:solidFill>
                <a:schemeClr val="tx1"/>
              </a:solidFill>
            </a:endParaRPr>
          </a:p>
        </p:txBody>
      </p:sp>
      <p:sp>
        <p:nvSpPr>
          <p:cNvPr id="6" name="正方形/長方形 5">
            <a:extLst>
              <a:ext uri="{FF2B5EF4-FFF2-40B4-BE49-F238E27FC236}">
                <a16:creationId xmlns:a16="http://schemas.microsoft.com/office/drawing/2014/main" id="{1990E2CC-C9A6-7FEB-0C42-D541158567C1}"/>
              </a:ext>
            </a:extLst>
          </p:cNvPr>
          <p:cNvSpPr/>
          <p:nvPr/>
        </p:nvSpPr>
        <p:spPr>
          <a:xfrm>
            <a:off x="2308330" y="3356985"/>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品質情報</a:t>
            </a:r>
            <a:endParaRPr kumimoji="1" lang="en-US" altLang="ja-JP" sz="105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8" name="正方形/長方形 7">
            <a:extLst>
              <a:ext uri="{FF2B5EF4-FFF2-40B4-BE49-F238E27FC236}">
                <a16:creationId xmlns:a16="http://schemas.microsoft.com/office/drawing/2014/main" id="{F49EDD98-0E40-2421-8917-2B1075782665}"/>
              </a:ext>
            </a:extLst>
          </p:cNvPr>
          <p:cNvSpPr/>
          <p:nvPr/>
        </p:nvSpPr>
        <p:spPr>
          <a:xfrm>
            <a:off x="4129396" y="3175852"/>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品質情報登録</a:t>
            </a:r>
            <a:endParaRPr kumimoji="1" lang="en-US" altLang="ja-JP" sz="105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9" name="正方形/長方形 8">
            <a:extLst>
              <a:ext uri="{FF2B5EF4-FFF2-40B4-BE49-F238E27FC236}">
                <a16:creationId xmlns:a16="http://schemas.microsoft.com/office/drawing/2014/main" id="{AD0CF4CB-AA93-3105-8FDD-D7024CF1DBFA}"/>
              </a:ext>
            </a:extLst>
          </p:cNvPr>
          <p:cNvSpPr/>
          <p:nvPr/>
        </p:nvSpPr>
        <p:spPr>
          <a:xfrm>
            <a:off x="4129396" y="3543214"/>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品質情報照会</a:t>
            </a:r>
            <a:endParaRPr kumimoji="1" lang="en-US" altLang="ja-JP" sz="105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10" name="直線矢印コネクタ 52">
            <a:extLst>
              <a:ext uri="{FF2B5EF4-FFF2-40B4-BE49-F238E27FC236}">
                <a16:creationId xmlns:a16="http://schemas.microsoft.com/office/drawing/2014/main" id="{99850F0F-66D1-2135-15B8-E7D50A7E581D}"/>
              </a:ext>
            </a:extLst>
          </p:cNvPr>
          <p:cNvCxnSpPr>
            <a:cxnSpLocks/>
            <a:stCxn id="6" idx="3"/>
            <a:endCxn id="8" idx="1"/>
          </p:cNvCxnSpPr>
          <p:nvPr/>
        </p:nvCxnSpPr>
        <p:spPr>
          <a:xfrm flipV="1">
            <a:off x="3712330" y="3301852"/>
            <a:ext cx="417066" cy="181133"/>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直線矢印コネクタ 52">
            <a:extLst>
              <a:ext uri="{FF2B5EF4-FFF2-40B4-BE49-F238E27FC236}">
                <a16:creationId xmlns:a16="http://schemas.microsoft.com/office/drawing/2014/main" id="{1FB3A1D5-DE02-2957-40AD-05D59536B87D}"/>
              </a:ext>
            </a:extLst>
          </p:cNvPr>
          <p:cNvCxnSpPr>
            <a:cxnSpLocks/>
            <a:stCxn id="6" idx="3"/>
            <a:endCxn id="9" idx="1"/>
          </p:cNvCxnSpPr>
          <p:nvPr/>
        </p:nvCxnSpPr>
        <p:spPr>
          <a:xfrm>
            <a:off x="3712330" y="3482985"/>
            <a:ext cx="417066" cy="186229"/>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正方形/長方形 19">
            <a:extLst>
              <a:ext uri="{FF2B5EF4-FFF2-40B4-BE49-F238E27FC236}">
                <a16:creationId xmlns:a16="http://schemas.microsoft.com/office/drawing/2014/main" id="{19214C18-DFAF-FA4C-10CC-C976026A3C92}"/>
              </a:ext>
            </a:extLst>
          </p:cNvPr>
          <p:cNvSpPr/>
          <p:nvPr/>
        </p:nvSpPr>
        <p:spPr>
          <a:xfrm>
            <a:off x="5746832" y="3555914"/>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品質情報編集</a:t>
            </a:r>
          </a:p>
        </p:txBody>
      </p:sp>
      <p:cxnSp>
        <p:nvCxnSpPr>
          <p:cNvPr id="25" name="直線矢印コネクタ 24">
            <a:extLst>
              <a:ext uri="{FF2B5EF4-FFF2-40B4-BE49-F238E27FC236}">
                <a16:creationId xmlns:a16="http://schemas.microsoft.com/office/drawing/2014/main" id="{7C37A400-83A8-ABB6-642C-065BC6DFD0AA}"/>
              </a:ext>
            </a:extLst>
          </p:cNvPr>
          <p:cNvCxnSpPr>
            <a:cxnSpLocks/>
            <a:endCxn id="20" idx="1"/>
          </p:cNvCxnSpPr>
          <p:nvPr/>
        </p:nvCxnSpPr>
        <p:spPr>
          <a:xfrm>
            <a:off x="5533396" y="3681914"/>
            <a:ext cx="213436"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正方形/長方形 25">
            <a:extLst>
              <a:ext uri="{FF2B5EF4-FFF2-40B4-BE49-F238E27FC236}">
                <a16:creationId xmlns:a16="http://schemas.microsoft.com/office/drawing/2014/main" id="{3B370EEC-BD6E-5537-03FB-37532FB0E04C}"/>
              </a:ext>
            </a:extLst>
          </p:cNvPr>
          <p:cNvSpPr/>
          <p:nvPr/>
        </p:nvSpPr>
        <p:spPr>
          <a:xfrm>
            <a:off x="2308330" y="1997401"/>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50">
                <a:solidFill>
                  <a:prstClr val="black"/>
                </a:solidFill>
                <a:latin typeface="Yu Gothic UI"/>
                <a:ea typeface="Yu Gothic UI"/>
              </a:rPr>
              <a:t>関連文書</a:t>
            </a:r>
            <a:endParaRPr kumimoji="1" lang="en-US" altLang="ja-JP" sz="105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27" name="正方形/長方形 26">
            <a:extLst>
              <a:ext uri="{FF2B5EF4-FFF2-40B4-BE49-F238E27FC236}">
                <a16:creationId xmlns:a16="http://schemas.microsoft.com/office/drawing/2014/main" id="{6751CB0D-5271-B60B-0AF2-BB1064214129}"/>
              </a:ext>
            </a:extLst>
          </p:cNvPr>
          <p:cNvSpPr/>
          <p:nvPr/>
        </p:nvSpPr>
        <p:spPr>
          <a:xfrm>
            <a:off x="4129396" y="1816268"/>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50">
                <a:solidFill>
                  <a:prstClr val="black"/>
                </a:solidFill>
                <a:latin typeface="Yu Gothic UI"/>
                <a:ea typeface="Yu Gothic UI"/>
              </a:rPr>
              <a:t>関連文書</a:t>
            </a: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登録</a:t>
            </a:r>
            <a:endParaRPr kumimoji="1" lang="en-US" altLang="ja-JP" sz="105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28" name="正方形/長方形 27">
            <a:extLst>
              <a:ext uri="{FF2B5EF4-FFF2-40B4-BE49-F238E27FC236}">
                <a16:creationId xmlns:a16="http://schemas.microsoft.com/office/drawing/2014/main" id="{7C0123D1-3A32-5935-3C62-90F2FFF8FB0E}"/>
              </a:ext>
            </a:extLst>
          </p:cNvPr>
          <p:cNvSpPr/>
          <p:nvPr/>
        </p:nvSpPr>
        <p:spPr>
          <a:xfrm>
            <a:off x="4129396" y="2183630"/>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関連文書照会</a:t>
            </a:r>
            <a:endParaRPr kumimoji="1" lang="en-US" altLang="ja-JP" sz="105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29" name="直線矢印コネクタ 52">
            <a:extLst>
              <a:ext uri="{FF2B5EF4-FFF2-40B4-BE49-F238E27FC236}">
                <a16:creationId xmlns:a16="http://schemas.microsoft.com/office/drawing/2014/main" id="{08BDA96F-212C-E0DA-A2A3-9AC8A3A33FF2}"/>
              </a:ext>
            </a:extLst>
          </p:cNvPr>
          <p:cNvCxnSpPr>
            <a:cxnSpLocks/>
            <a:stCxn id="26" idx="3"/>
            <a:endCxn id="27" idx="1"/>
          </p:cNvCxnSpPr>
          <p:nvPr/>
        </p:nvCxnSpPr>
        <p:spPr>
          <a:xfrm flipV="1">
            <a:off x="3712330" y="1942268"/>
            <a:ext cx="417066" cy="181133"/>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直線矢印コネクタ 52">
            <a:extLst>
              <a:ext uri="{FF2B5EF4-FFF2-40B4-BE49-F238E27FC236}">
                <a16:creationId xmlns:a16="http://schemas.microsoft.com/office/drawing/2014/main" id="{0A8D879F-4214-84E7-AF4B-755F2EA46581}"/>
              </a:ext>
            </a:extLst>
          </p:cNvPr>
          <p:cNvCxnSpPr>
            <a:cxnSpLocks/>
            <a:stCxn id="26" idx="3"/>
            <a:endCxn id="28" idx="1"/>
          </p:cNvCxnSpPr>
          <p:nvPr/>
        </p:nvCxnSpPr>
        <p:spPr>
          <a:xfrm>
            <a:off x="3712330" y="2123401"/>
            <a:ext cx="417066" cy="186229"/>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正方形/長方形 33">
            <a:extLst>
              <a:ext uri="{FF2B5EF4-FFF2-40B4-BE49-F238E27FC236}">
                <a16:creationId xmlns:a16="http://schemas.microsoft.com/office/drawing/2014/main" id="{552800AD-5020-4D59-D8C7-DDC8516EFC34}"/>
              </a:ext>
            </a:extLst>
          </p:cNvPr>
          <p:cNvSpPr/>
          <p:nvPr/>
        </p:nvSpPr>
        <p:spPr>
          <a:xfrm>
            <a:off x="5746832" y="2196330"/>
            <a:ext cx="1404000" cy="252000"/>
          </a:xfrm>
          <a:prstGeom prst="rect">
            <a:avLst/>
          </a:prstGeom>
        </p:spPr>
        <p:style>
          <a:lnRef idx="2">
            <a:schemeClr val="accent1"/>
          </a:lnRef>
          <a:fillRef idx="1">
            <a:schemeClr val="lt1"/>
          </a:fillRef>
          <a:effectRef idx="0">
            <a:schemeClr val="accent1"/>
          </a:effectRef>
          <a:fontRef idx="minor">
            <a:schemeClr val="dk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50">
                <a:solidFill>
                  <a:prstClr val="black"/>
                </a:solidFill>
                <a:latin typeface="Yu Gothic UI"/>
                <a:ea typeface="Yu Gothic UI"/>
              </a:rPr>
              <a:t>関連文書</a:t>
            </a: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編集</a:t>
            </a:r>
          </a:p>
        </p:txBody>
      </p:sp>
      <p:cxnSp>
        <p:nvCxnSpPr>
          <p:cNvPr id="37" name="直線矢印コネクタ 36">
            <a:extLst>
              <a:ext uri="{FF2B5EF4-FFF2-40B4-BE49-F238E27FC236}">
                <a16:creationId xmlns:a16="http://schemas.microsoft.com/office/drawing/2014/main" id="{89483F0F-89B6-30AA-E7DD-D023835917BE}"/>
              </a:ext>
            </a:extLst>
          </p:cNvPr>
          <p:cNvCxnSpPr>
            <a:cxnSpLocks/>
            <a:endCxn id="34" idx="1"/>
          </p:cNvCxnSpPr>
          <p:nvPr/>
        </p:nvCxnSpPr>
        <p:spPr>
          <a:xfrm>
            <a:off x="5533396" y="2322330"/>
            <a:ext cx="213436"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 name="直線矢印コネクタ 54">
            <a:extLst>
              <a:ext uri="{FF2B5EF4-FFF2-40B4-BE49-F238E27FC236}">
                <a16:creationId xmlns:a16="http://schemas.microsoft.com/office/drawing/2014/main" id="{5265251A-1577-9AA0-67D6-93B7DAA1E08A}"/>
              </a:ext>
            </a:extLst>
          </p:cNvPr>
          <p:cNvCxnSpPr>
            <a:cxnSpLocks/>
            <a:stCxn id="2" idx="4"/>
            <a:endCxn id="26" idx="1"/>
          </p:cNvCxnSpPr>
          <p:nvPr/>
        </p:nvCxnSpPr>
        <p:spPr>
          <a:xfrm rot="16200000" flipH="1">
            <a:off x="1961226" y="1776296"/>
            <a:ext cx="373219" cy="32099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直線矢印コネクタ 54">
            <a:extLst>
              <a:ext uri="{FF2B5EF4-FFF2-40B4-BE49-F238E27FC236}">
                <a16:creationId xmlns:a16="http://schemas.microsoft.com/office/drawing/2014/main" id="{F46AD5E6-4DCB-EBD0-6EA4-8B255EC9C10F}"/>
              </a:ext>
            </a:extLst>
          </p:cNvPr>
          <p:cNvCxnSpPr>
            <a:cxnSpLocks/>
            <a:stCxn id="2" idx="4"/>
            <a:endCxn id="6" idx="1"/>
          </p:cNvCxnSpPr>
          <p:nvPr/>
        </p:nvCxnSpPr>
        <p:spPr>
          <a:xfrm rot="16200000" flipH="1">
            <a:off x="1281434" y="2456088"/>
            <a:ext cx="1732803" cy="32099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82102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CF1F410-5184-899E-B5E0-8F3C15E8CB80}"/>
              </a:ext>
            </a:extLst>
          </p:cNvPr>
          <p:cNvGraphicFramePr>
            <a:graphicFrameLocks noChangeAspect="1"/>
          </p:cNvGraphicFramePr>
          <p:nvPr>
            <p:custDataLst>
              <p:tags r:id="rId1"/>
            </p:custDataLst>
            <p:extLst>
              <p:ext uri="{D42A27DB-BD31-4B8C-83A1-F6EECF244321}">
                <p14:modId xmlns:p14="http://schemas.microsoft.com/office/powerpoint/2010/main" val="2297543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6" name="think-cell data - do not delete" hidden="1">
                        <a:extLst>
                          <a:ext uri="{FF2B5EF4-FFF2-40B4-BE49-F238E27FC236}">
                            <a16:creationId xmlns:a16="http://schemas.microsoft.com/office/drawing/2014/main" id="{1CF1F410-5184-899E-B5E0-8F3C15E8CB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45B6C1CE-AE6D-F867-1DAC-14F72423643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4" name="タイトル 3">
            <a:extLst>
              <a:ext uri="{FF2B5EF4-FFF2-40B4-BE49-F238E27FC236}">
                <a16:creationId xmlns:a16="http://schemas.microsoft.com/office/drawing/2014/main" id="{599FFCD3-4840-7D8A-EC3F-3642D5887971}"/>
              </a:ext>
            </a:extLst>
          </p:cNvPr>
          <p:cNvSpPr>
            <a:spLocks noGrp="1"/>
          </p:cNvSpPr>
          <p:nvPr>
            <p:ph type="title"/>
          </p:nvPr>
        </p:nvSpPr>
        <p:spPr>
          <a:xfrm>
            <a:off x="251519" y="263966"/>
            <a:ext cx="6932935" cy="523220"/>
          </a:xfrm>
        </p:spPr>
        <p:txBody>
          <a:bodyPr vert="horz"/>
          <a:lstStyle/>
          <a:p>
            <a:r>
              <a:rPr kumimoji="1" lang="ja-JP" altLang="en-US"/>
              <a:t>目次</a:t>
            </a:r>
          </a:p>
        </p:txBody>
      </p:sp>
      <p:sp>
        <p:nvSpPr>
          <p:cNvPr id="10" name="テキスト プレースホルダー 4">
            <a:extLst>
              <a:ext uri="{FF2B5EF4-FFF2-40B4-BE49-F238E27FC236}">
                <a16:creationId xmlns:a16="http://schemas.microsoft.com/office/drawing/2014/main" id="{63BB9C2C-DCF6-C3B2-75F2-A145BE2371C9}"/>
              </a:ext>
            </a:extLst>
          </p:cNvPr>
          <p:cNvSpPr txBox="1">
            <a:spLocks/>
          </p:cNvSpPr>
          <p:nvPr/>
        </p:nvSpPr>
        <p:spPr>
          <a:xfrm>
            <a:off x="251524" y="1052963"/>
            <a:ext cx="8640950" cy="5303389"/>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R="0" lvl="0" algn="l" defTabSz="914400" rtl="0" eaLnBrk="1" fontAlgn="auto" latinLnBrk="0" hangingPunct="1">
              <a:lnSpc>
                <a:spcPct val="100000"/>
              </a:lnSpc>
              <a:spcBef>
                <a:spcPct val="20000"/>
              </a:spcBef>
              <a:spcAft>
                <a:spcPts val="0"/>
              </a:spcAft>
              <a:buClrTx/>
              <a:buSzTx/>
              <a:buFont typeface="+mj-lt"/>
              <a:buAutoNum type="arabicPeriod"/>
              <a:tabLst/>
              <a:defRPr/>
            </a:pPr>
            <a:r>
              <a:rPr kumimoji="1" lang="ja-JP" altLang="en-US" sz="1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rPr>
              <a:t>業務要件</a:t>
            </a:r>
            <a:endParaRPr kumimoji="1" lang="en-US" altLang="ja-JP" sz="1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a:p>
            <a:pPr lvl="1">
              <a:buFont typeface="+mj-lt"/>
              <a:buAutoNum type="arabicPeriod"/>
              <a:defRPr/>
            </a:pPr>
            <a:r>
              <a:rPr kumimoji="1" lang="ja-JP" altLang="en-US" sz="14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rPr>
              <a:t>業務概要</a:t>
            </a:r>
            <a:endParaRPr kumimoji="1" lang="en-US" altLang="ja-JP" sz="14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a:p>
            <a:pPr lvl="1">
              <a:buFont typeface="+mj-lt"/>
              <a:buAutoNum type="arabicPeriod"/>
              <a:defRPr/>
            </a:pPr>
            <a:r>
              <a:rPr lang="ja-JP" altLang="en-US" sz="1400">
                <a:solidFill>
                  <a:prstClr val="black"/>
                </a:solidFill>
              </a:rPr>
              <a:t>業務上の役割</a:t>
            </a:r>
            <a:endParaRPr lang="en-US" altLang="ja-JP" sz="1400">
              <a:solidFill>
                <a:prstClr val="black"/>
              </a:solidFill>
            </a:endParaRPr>
          </a:p>
          <a:p>
            <a:pPr lvl="1">
              <a:buFont typeface="+mj-lt"/>
              <a:buAutoNum type="arabicPeriod"/>
              <a:defRPr/>
            </a:pPr>
            <a:r>
              <a:rPr lang="ja-JP" altLang="en-US" sz="1400">
                <a:solidFill>
                  <a:prstClr val="black"/>
                </a:solidFill>
              </a:rPr>
              <a:t>業務フロー</a:t>
            </a:r>
            <a:endParaRPr lang="en-US" altLang="ja-JP" sz="1400">
              <a:solidFill>
                <a:prstClr val="black"/>
              </a:solidFill>
            </a:endParaRPr>
          </a:p>
          <a:p>
            <a:pPr marR="0" lvl="0" algn="l" defTabSz="914400" rtl="0" eaLnBrk="1" fontAlgn="auto" latinLnBrk="0" hangingPunct="1">
              <a:lnSpc>
                <a:spcPct val="100000"/>
              </a:lnSpc>
              <a:spcBef>
                <a:spcPct val="20000"/>
              </a:spcBef>
              <a:spcAft>
                <a:spcPts val="0"/>
              </a:spcAft>
              <a:buClrTx/>
              <a:buSzTx/>
              <a:buFont typeface="+mj-lt"/>
              <a:buAutoNum type="arabicPeriod"/>
              <a:tabLst/>
              <a:defRPr/>
            </a:pPr>
            <a:r>
              <a:rPr lang="ja-JP" altLang="en-US" sz="1800">
                <a:solidFill>
                  <a:prstClr val="black"/>
                </a:solidFill>
              </a:rPr>
              <a:t>機能要件</a:t>
            </a:r>
            <a:endParaRPr lang="en-US" altLang="ja-JP" sz="1800">
              <a:solidFill>
                <a:prstClr val="black"/>
              </a:solidFill>
            </a:endParaRPr>
          </a:p>
          <a:p>
            <a:pPr lvl="1">
              <a:buFont typeface="+mj-lt"/>
              <a:buAutoNum type="arabicPeriod"/>
              <a:defRPr/>
            </a:pPr>
            <a:r>
              <a:rPr lang="ja-JP" altLang="en-US" sz="1400">
                <a:solidFill>
                  <a:prstClr val="black"/>
                </a:solidFill>
              </a:rPr>
              <a:t>機能要件一覧</a:t>
            </a:r>
            <a:endParaRPr lang="en-US" altLang="ja-JP" sz="1400">
              <a:solidFill>
                <a:prstClr val="black"/>
              </a:solidFill>
            </a:endParaRPr>
          </a:p>
          <a:p>
            <a:pPr lvl="1">
              <a:buFont typeface="+mj-lt"/>
              <a:buAutoNum type="arabicPeriod"/>
              <a:defRPr/>
            </a:pPr>
            <a:r>
              <a:rPr lang="ja-JP" altLang="en-US" sz="1400">
                <a:solidFill>
                  <a:prstClr val="black"/>
                </a:solidFill>
              </a:rPr>
              <a:t>画面遷移図</a:t>
            </a:r>
            <a:endParaRPr lang="en-US" altLang="ja-JP" sz="1400">
              <a:solidFill>
                <a:prstClr val="black"/>
              </a:solidFill>
            </a:endParaRPr>
          </a:p>
          <a:p>
            <a:pPr lvl="1">
              <a:buFont typeface="+mj-lt"/>
              <a:buAutoNum type="arabicPeriod"/>
              <a:defRPr/>
            </a:pPr>
            <a:r>
              <a:rPr lang="ja-JP" altLang="en-US" sz="1400">
                <a:solidFill>
                  <a:prstClr val="black"/>
                </a:solidFill>
              </a:rPr>
              <a:t>画面イメージ</a:t>
            </a:r>
            <a:endParaRPr lang="en-US" altLang="ja-JP" sz="1400">
              <a:solidFill>
                <a:prstClr val="black"/>
              </a:solidFill>
            </a:endParaRPr>
          </a:p>
          <a:p>
            <a:pPr lvl="1">
              <a:buFont typeface="+mj-lt"/>
              <a:buAutoNum type="arabicPeriod"/>
              <a:defRPr/>
            </a:pPr>
            <a:r>
              <a:rPr lang="ja-JP" altLang="en-US" sz="1400">
                <a:solidFill>
                  <a:prstClr val="black"/>
                </a:solidFill>
              </a:rPr>
              <a:t>項目</a:t>
            </a:r>
            <a:endParaRPr lang="en-US" altLang="ja-JP" sz="1400">
              <a:solidFill>
                <a:prstClr val="black"/>
              </a:solidFill>
            </a:endParaRPr>
          </a:p>
          <a:p>
            <a:pPr lvl="1">
              <a:buFont typeface="+mj-lt"/>
              <a:buAutoNum type="arabicPeriod"/>
              <a:defRPr/>
            </a:pPr>
            <a:r>
              <a:rPr lang="ja-JP" altLang="en-US" sz="1400">
                <a:solidFill>
                  <a:prstClr val="black"/>
                </a:solidFill>
              </a:rPr>
              <a:t>データベース一覧</a:t>
            </a:r>
            <a:endParaRPr lang="en-US" altLang="ja-JP" sz="1400">
              <a:solidFill>
                <a:prstClr val="black"/>
              </a:solidFill>
            </a:endParaRPr>
          </a:p>
          <a:p>
            <a:pPr lvl="1">
              <a:buFont typeface="+mj-lt"/>
              <a:buAutoNum type="arabicPeriod"/>
              <a:defRPr/>
            </a:pPr>
            <a:r>
              <a:rPr lang="ja-JP" altLang="en-US" sz="1400">
                <a:solidFill>
                  <a:prstClr val="black"/>
                </a:solidFill>
              </a:rPr>
              <a:t>外部システム連携一覧</a:t>
            </a:r>
            <a:endParaRPr lang="en-US" altLang="ja-JP" sz="1400">
              <a:solidFill>
                <a:prstClr val="black"/>
              </a:solidFill>
            </a:endParaRPr>
          </a:p>
          <a:p>
            <a:pPr lvl="1">
              <a:buFont typeface="+mj-lt"/>
              <a:buAutoNum type="arabicPeriod"/>
              <a:defRPr/>
            </a:pPr>
            <a:r>
              <a:rPr lang="ja-JP" altLang="en-US" sz="1400">
                <a:solidFill>
                  <a:prstClr val="black"/>
                </a:solidFill>
              </a:rPr>
              <a:t>機能別アクセス範囲</a:t>
            </a:r>
            <a:endParaRPr lang="en-US" altLang="ja-JP" sz="1800">
              <a:solidFill>
                <a:prstClr val="black"/>
              </a:solidFill>
            </a:endParaRPr>
          </a:p>
          <a:p>
            <a:pPr marR="0" lvl="0" algn="l" defTabSz="914400" rtl="0" eaLnBrk="1" fontAlgn="auto" latinLnBrk="0" hangingPunct="1">
              <a:lnSpc>
                <a:spcPct val="100000"/>
              </a:lnSpc>
              <a:spcBef>
                <a:spcPct val="20000"/>
              </a:spcBef>
              <a:spcAft>
                <a:spcPts val="0"/>
              </a:spcAft>
              <a:buClrTx/>
              <a:buSzTx/>
              <a:buFont typeface="+mj-lt"/>
              <a:buAutoNum type="arabicPeriod"/>
              <a:tabLst/>
              <a:defRPr/>
            </a:pPr>
            <a:r>
              <a:rPr lang="ja-JP" altLang="en-US" sz="1800">
                <a:solidFill>
                  <a:prstClr val="black"/>
                </a:solidFill>
              </a:rPr>
              <a:t>非機能要件</a:t>
            </a:r>
            <a:endParaRPr lang="en-US" altLang="ja-JP" sz="1800">
              <a:solidFill>
                <a:prstClr val="black"/>
              </a:solidFill>
            </a:endParaRPr>
          </a:p>
          <a:p>
            <a:pPr lvl="1">
              <a:buFont typeface="+mj-lt"/>
              <a:buAutoNum type="arabicPeriod"/>
              <a:defRPr/>
            </a:pPr>
            <a:r>
              <a:rPr lang="ja-JP" altLang="en-US" sz="1400">
                <a:solidFill>
                  <a:prstClr val="black"/>
                </a:solidFill>
              </a:rPr>
              <a:t>可用性</a:t>
            </a:r>
            <a:endParaRPr lang="en-US" altLang="ja-JP" sz="1400">
              <a:solidFill>
                <a:prstClr val="black"/>
              </a:solidFill>
            </a:endParaRPr>
          </a:p>
          <a:p>
            <a:pPr lvl="1">
              <a:buFont typeface="+mj-lt"/>
              <a:buAutoNum type="arabicPeriod"/>
              <a:defRPr/>
            </a:pPr>
            <a:r>
              <a:rPr lang="ja-JP" altLang="en-US" sz="1400">
                <a:solidFill>
                  <a:prstClr val="black"/>
                </a:solidFill>
              </a:rPr>
              <a:t>性能・拡張性</a:t>
            </a:r>
            <a:endParaRPr lang="en-US" altLang="ja-JP" sz="1400">
              <a:solidFill>
                <a:prstClr val="black"/>
              </a:solidFill>
            </a:endParaRPr>
          </a:p>
          <a:p>
            <a:pPr lvl="1">
              <a:buFont typeface="+mj-lt"/>
              <a:buAutoNum type="arabicPeriod"/>
              <a:defRPr/>
            </a:pPr>
            <a:r>
              <a:rPr lang="ja-JP" altLang="en-US" sz="1400">
                <a:solidFill>
                  <a:prstClr val="black"/>
                </a:solidFill>
              </a:rPr>
              <a:t>セキュリティ</a:t>
            </a:r>
            <a:endParaRPr lang="en-US" altLang="ja-JP" sz="1400">
              <a:solidFill>
                <a:prstClr val="black"/>
              </a:solidFill>
            </a:endParaRPr>
          </a:p>
          <a:p>
            <a:pPr lvl="1">
              <a:buFont typeface="+mj-lt"/>
              <a:buAutoNum type="arabicPeriod"/>
              <a:defRPr/>
            </a:pPr>
            <a:r>
              <a:rPr lang="ja-JP" altLang="en-US" sz="1400">
                <a:solidFill>
                  <a:prstClr val="black"/>
                </a:solidFill>
              </a:rPr>
              <a:t>システム環境</a:t>
            </a:r>
            <a:r>
              <a:rPr lang="en-US" altLang="ja-JP" sz="1400">
                <a:solidFill>
                  <a:prstClr val="black"/>
                </a:solidFill>
              </a:rPr>
              <a:t>	</a:t>
            </a:r>
            <a:endParaRPr kumimoji="1" lang="en-US" altLang="zh-TW" sz="14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Tree>
    <p:extLst>
      <p:ext uri="{BB962C8B-B14F-4D97-AF65-F5344CB8AC3E}">
        <p14:creationId xmlns:p14="http://schemas.microsoft.com/office/powerpoint/2010/main" val="32070570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84D1DA-97ED-2719-33EF-A13650BDF72A}"/>
              </a:ext>
            </a:extLst>
          </p:cNvPr>
          <p:cNvGraphicFramePr>
            <a:graphicFrameLocks noChangeAspect="1"/>
          </p:cNvGraphicFramePr>
          <p:nvPr>
            <p:custDataLst>
              <p:tags r:id="rId1"/>
            </p:custDataLst>
            <p:extLst>
              <p:ext uri="{D42A27DB-BD31-4B8C-83A1-F6EECF244321}">
                <p14:modId xmlns:p14="http://schemas.microsoft.com/office/powerpoint/2010/main" val="2242783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2A84D1DA-97ED-2719-33EF-A13650BDF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E9269E45-7521-5C38-131D-06135AC555F8}"/>
              </a:ext>
            </a:extLst>
          </p:cNvPr>
          <p:cNvPicPr>
            <a:picLocks noChangeAspect="1"/>
          </p:cNvPicPr>
          <p:nvPr/>
        </p:nvPicPr>
        <p:blipFill rotWithShape="1">
          <a:blip r:embed="rId5"/>
          <a:srcRect l="24622" r="11816"/>
          <a:stretch/>
        </p:blipFill>
        <p:spPr>
          <a:xfrm>
            <a:off x="502502" y="4117769"/>
            <a:ext cx="6826394" cy="1980166"/>
          </a:xfrm>
          <a:prstGeom prst="rect">
            <a:avLst/>
          </a:prstGeom>
        </p:spPr>
      </p:pic>
      <p:pic>
        <p:nvPicPr>
          <p:cNvPr id="8" name="図 7">
            <a:extLst>
              <a:ext uri="{FF2B5EF4-FFF2-40B4-BE49-F238E27FC236}">
                <a16:creationId xmlns:a16="http://schemas.microsoft.com/office/drawing/2014/main" id="{40F2BD39-37E9-FA41-F253-94AB1AE76817}"/>
              </a:ext>
            </a:extLst>
          </p:cNvPr>
          <p:cNvPicPr>
            <a:picLocks noChangeAspect="1"/>
          </p:cNvPicPr>
          <p:nvPr/>
        </p:nvPicPr>
        <p:blipFill rotWithShape="1">
          <a:blip r:embed="rId5"/>
          <a:srcRect r="88152"/>
          <a:stretch/>
        </p:blipFill>
        <p:spPr>
          <a:xfrm>
            <a:off x="502502" y="2000025"/>
            <a:ext cx="1272481" cy="1980166"/>
          </a:xfrm>
          <a:prstGeom prst="rect">
            <a:avLst/>
          </a:prstGeom>
        </p:spPr>
      </p:pic>
      <p:sp>
        <p:nvSpPr>
          <p:cNvPr id="4" name="タイトル 3">
            <a:extLst>
              <a:ext uri="{FF2B5EF4-FFF2-40B4-BE49-F238E27FC236}">
                <a16:creationId xmlns:a16="http://schemas.microsoft.com/office/drawing/2014/main" id="{C0CD4ED1-0F74-83B6-F4AC-8C87103B97BF}"/>
              </a:ext>
            </a:extLst>
          </p:cNvPr>
          <p:cNvSpPr>
            <a:spLocks noGrp="1"/>
          </p:cNvSpPr>
          <p:nvPr>
            <p:ph type="title"/>
          </p:nvPr>
        </p:nvSpPr>
        <p:spPr/>
        <p:txBody>
          <a:bodyPr vert="horz"/>
          <a:lstStyle/>
          <a:p>
            <a:r>
              <a:rPr lang="ja-JP" altLang="en-US"/>
              <a:t>２．機能要件</a:t>
            </a:r>
            <a:endParaRPr kumimoji="1" lang="ja-JP" altLang="en-US"/>
          </a:p>
        </p:txBody>
      </p:sp>
      <p:sp>
        <p:nvSpPr>
          <p:cNvPr id="3" name="テキスト プレースホルダー 4">
            <a:extLst>
              <a:ext uri="{FF2B5EF4-FFF2-40B4-BE49-F238E27FC236}">
                <a16:creationId xmlns:a16="http://schemas.microsoft.com/office/drawing/2014/main" id="{251B3422-0C83-F0E0-CEB5-1398EC9D9C0C}"/>
              </a:ext>
            </a:extLst>
          </p:cNvPr>
          <p:cNvSpPr txBox="1">
            <a:spLocks/>
          </p:cNvSpPr>
          <p:nvPr/>
        </p:nvSpPr>
        <p:spPr>
          <a:xfrm>
            <a:off x="251524" y="1052963"/>
            <a:ext cx="8640950" cy="36512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kumimoji="1" lang="ja-JP" altLang="en-US" sz="1800"/>
              <a:t>画面イメージ</a:t>
            </a:r>
            <a:endParaRPr kumimoji="1" lang="en-US" altLang="zh-TW"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28" name="スライド番号プレースホルダー 1">
            <a:extLst>
              <a:ext uri="{FF2B5EF4-FFF2-40B4-BE49-F238E27FC236}">
                <a16:creationId xmlns:a16="http://schemas.microsoft.com/office/drawing/2014/main" id="{B45C7C43-84BC-EB68-B34A-AAE39F6D8E9C}"/>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85" name="吹き出し: 線 (枠付き、強調線付き) 84">
            <a:extLst>
              <a:ext uri="{FF2B5EF4-FFF2-40B4-BE49-F238E27FC236}">
                <a16:creationId xmlns:a16="http://schemas.microsoft.com/office/drawing/2014/main" id="{1919DEAA-049E-D375-9F18-87C299672303}"/>
              </a:ext>
            </a:extLst>
          </p:cNvPr>
          <p:cNvSpPr/>
          <p:nvPr/>
        </p:nvSpPr>
        <p:spPr>
          <a:xfrm>
            <a:off x="502502" y="2000024"/>
            <a:ext cx="1272481" cy="1980165"/>
          </a:xfrm>
          <a:prstGeom prst="accentBorderCallout1">
            <a:avLst>
              <a:gd name="adj1" fmla="val 15361"/>
              <a:gd name="adj2" fmla="val 107931"/>
              <a:gd name="adj3" fmla="val 15280"/>
              <a:gd name="adj4" fmla="val 128153"/>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86" name="正方形/長方形 85">
            <a:extLst>
              <a:ext uri="{FF2B5EF4-FFF2-40B4-BE49-F238E27FC236}">
                <a16:creationId xmlns:a16="http://schemas.microsoft.com/office/drawing/2014/main" id="{A734A665-A87D-F11B-F2AE-D85B2477CFA5}"/>
              </a:ext>
            </a:extLst>
          </p:cNvPr>
          <p:cNvSpPr/>
          <p:nvPr/>
        </p:nvSpPr>
        <p:spPr>
          <a:xfrm>
            <a:off x="2164491" y="2000024"/>
            <a:ext cx="4411569" cy="1980165"/>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sng" strike="noStrike" kern="0" cap="none" spc="0" normalizeH="0" baseline="0" noProof="0">
                <a:ln>
                  <a:noFill/>
                </a:ln>
                <a:solidFill>
                  <a:srgbClr val="000000"/>
                </a:solidFill>
                <a:effectLst/>
                <a:uLnTx/>
                <a:uFillTx/>
                <a:latin typeface="+mn-ea"/>
                <a:cs typeface="+mn-cs"/>
              </a:rPr>
              <a:t>文書ステータス・種類ごとに閲覧設定可能な機能</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05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050" kern="0">
                <a:solidFill>
                  <a:srgbClr val="000000"/>
                </a:solidFill>
                <a:latin typeface="+mn-ea"/>
              </a:rPr>
              <a:t>選択したビューに応じて、対象文書が一覧で表示される機能</a:t>
            </a:r>
            <a:endParaRPr kumimoji="0" lang="en-US" altLang="ja-JP" sz="1050" kern="0">
              <a:solidFill>
                <a:srgbClr val="000000"/>
              </a:solidFill>
              <a:latin typeface="+mn-ea"/>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050" kern="0">
                <a:solidFill>
                  <a:srgbClr val="000000"/>
                </a:solidFill>
                <a:latin typeface="+mn-ea"/>
              </a:rPr>
              <a:t>必要なビューの設定ができる機能</a:t>
            </a:r>
            <a:endParaRPr kumimoji="0" lang="en-US" altLang="ja-JP" sz="1050" kern="0">
              <a:solidFill>
                <a:srgbClr val="000000"/>
              </a:solidFill>
              <a:latin typeface="+mn-ea"/>
            </a:endParaRPr>
          </a:p>
          <a:p>
            <a:pPr marR="0" lvl="0" defTabSz="914400" eaLnBrk="1" fontAlgn="auto" latinLnBrk="0" hangingPunct="1">
              <a:lnSpc>
                <a:spcPct val="100000"/>
              </a:lnSpc>
              <a:spcBef>
                <a:spcPts val="0"/>
              </a:spcBef>
              <a:spcAft>
                <a:spcPts val="0"/>
              </a:spcAft>
              <a:buClrTx/>
              <a:buSzTx/>
              <a:tabLst/>
              <a:defRPr/>
            </a:pPr>
            <a:endParaRPr kumimoji="0" lang="ja-JP" altLang="en-US" sz="1050" b="0" i="0" u="none" strike="noStrike" kern="0" cap="none" spc="0" normalizeH="0" baseline="0" noProof="0">
              <a:ln>
                <a:noFill/>
              </a:ln>
              <a:solidFill>
                <a:srgbClr val="000000"/>
              </a:solidFill>
              <a:effectLst/>
              <a:uLnTx/>
              <a:uFillTx/>
              <a:latin typeface="+mn-ea"/>
              <a:cs typeface="+mn-cs"/>
            </a:endParaRPr>
          </a:p>
        </p:txBody>
      </p:sp>
      <p:sp>
        <p:nvSpPr>
          <p:cNvPr id="91" name="正方形/長方形 90">
            <a:extLst>
              <a:ext uri="{FF2B5EF4-FFF2-40B4-BE49-F238E27FC236}">
                <a16:creationId xmlns:a16="http://schemas.microsoft.com/office/drawing/2014/main" id="{6CE6E245-6D90-A273-F2A0-D60BE5CDAECB}"/>
              </a:ext>
            </a:extLst>
          </p:cNvPr>
          <p:cNvSpPr/>
          <p:nvPr/>
        </p:nvSpPr>
        <p:spPr>
          <a:xfrm>
            <a:off x="255605" y="1418087"/>
            <a:ext cx="8665427" cy="25841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FFFFFF"/>
                </a:solidFill>
                <a:effectLst/>
                <a:uLnTx/>
                <a:uFillTx/>
                <a:latin typeface="Arial"/>
                <a:ea typeface="游ゴシック Medium"/>
                <a:cs typeface="+mn-cs"/>
              </a:rPr>
              <a:t>トップ画面イメージ　　</a:t>
            </a:r>
          </a:p>
        </p:txBody>
      </p:sp>
      <p:sp>
        <p:nvSpPr>
          <p:cNvPr id="104" name="正方形/長方形 103">
            <a:extLst>
              <a:ext uri="{FF2B5EF4-FFF2-40B4-BE49-F238E27FC236}">
                <a16:creationId xmlns:a16="http://schemas.microsoft.com/office/drawing/2014/main" id="{29033AB2-6ACC-64B2-C7C5-CD7B59A84E7A}"/>
              </a:ext>
            </a:extLst>
          </p:cNvPr>
          <p:cNvSpPr/>
          <p:nvPr/>
        </p:nvSpPr>
        <p:spPr>
          <a:xfrm>
            <a:off x="7184454" y="1499045"/>
            <a:ext cx="1711088" cy="17346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700" b="0" i="0" u="none" strike="noStrike" kern="0" cap="none" spc="0" normalizeH="0" baseline="0" noProof="0">
                <a:ln>
                  <a:noFill/>
                </a:ln>
                <a:solidFill>
                  <a:srgbClr val="FFFFFF"/>
                </a:solidFill>
                <a:effectLst/>
                <a:uLnTx/>
                <a:uFillTx/>
                <a:latin typeface="Arial"/>
                <a:ea typeface="游ゴシック Medium"/>
                <a:cs typeface="+mn-cs"/>
              </a:rPr>
              <a:t>※</a:t>
            </a:r>
            <a:r>
              <a:rPr kumimoji="0" lang="ja-JP" altLang="en-US" sz="700" b="0" i="0" u="none" strike="noStrike" kern="0" cap="none" spc="0" normalizeH="0" baseline="0" noProof="0">
                <a:ln>
                  <a:noFill/>
                </a:ln>
                <a:solidFill>
                  <a:srgbClr val="FFFFFF"/>
                </a:solidFill>
                <a:effectLst/>
                <a:uLnTx/>
                <a:uFillTx/>
                <a:latin typeface="Arial"/>
                <a:ea typeface="游ゴシック Medium"/>
                <a:cs typeface="+mn-cs"/>
              </a:rPr>
              <a:t>現行システムの参考画面です</a:t>
            </a:r>
            <a:endParaRPr kumimoji="0" lang="ja-JP" altLang="en-US" sz="1100" b="0" i="0" u="none" strike="noStrike" kern="0" cap="none" spc="0" normalizeH="0" baseline="0" noProof="0">
              <a:ln>
                <a:noFill/>
              </a:ln>
              <a:solidFill>
                <a:srgbClr val="FFFFFF"/>
              </a:solidFill>
              <a:effectLst/>
              <a:uLnTx/>
              <a:uFillTx/>
              <a:latin typeface="Arial"/>
              <a:ea typeface="游ゴシック Medium"/>
              <a:cs typeface="+mn-cs"/>
            </a:endParaRPr>
          </a:p>
        </p:txBody>
      </p:sp>
      <p:sp>
        <p:nvSpPr>
          <p:cNvPr id="9" name="吹き出し: 線 (枠付き、強調線付き) 8">
            <a:extLst>
              <a:ext uri="{FF2B5EF4-FFF2-40B4-BE49-F238E27FC236}">
                <a16:creationId xmlns:a16="http://schemas.microsoft.com/office/drawing/2014/main" id="{51CC6779-E605-6506-1802-615B087A350D}"/>
              </a:ext>
            </a:extLst>
          </p:cNvPr>
          <p:cNvSpPr/>
          <p:nvPr/>
        </p:nvSpPr>
        <p:spPr>
          <a:xfrm>
            <a:off x="542623" y="4303708"/>
            <a:ext cx="6719237" cy="2039397"/>
          </a:xfrm>
          <a:prstGeom prst="accentBorderCallout1">
            <a:avLst>
              <a:gd name="adj1" fmla="val 19594"/>
              <a:gd name="adj2" fmla="val 101457"/>
              <a:gd name="adj3" fmla="val 19524"/>
              <a:gd name="adj4" fmla="val 104146"/>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10" name="正方形/長方形 9">
            <a:extLst>
              <a:ext uri="{FF2B5EF4-FFF2-40B4-BE49-F238E27FC236}">
                <a16:creationId xmlns:a16="http://schemas.microsoft.com/office/drawing/2014/main" id="{591721DA-3B4B-EB0C-D101-67BF90C52DB5}"/>
              </a:ext>
            </a:extLst>
          </p:cNvPr>
          <p:cNvSpPr/>
          <p:nvPr/>
        </p:nvSpPr>
        <p:spPr>
          <a:xfrm>
            <a:off x="7507907" y="4150242"/>
            <a:ext cx="1506553" cy="2281038"/>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u="sng" kern="0">
                <a:solidFill>
                  <a:srgbClr val="000000"/>
                </a:solidFill>
                <a:latin typeface="+mn-ea"/>
              </a:rPr>
              <a:t>文書の</a:t>
            </a:r>
            <a:r>
              <a:rPr kumimoji="0" lang="ja-JP" altLang="en-US" sz="1200" b="0" i="0" u="sng" strike="noStrike" kern="0" cap="none" spc="0" normalizeH="0" baseline="0" noProof="0">
                <a:ln>
                  <a:noFill/>
                </a:ln>
                <a:solidFill>
                  <a:srgbClr val="000000"/>
                </a:solidFill>
                <a:effectLst/>
                <a:uLnTx/>
                <a:uFillTx/>
                <a:latin typeface="+mn-ea"/>
                <a:cs typeface="+mn-cs"/>
              </a:rPr>
              <a:t>検索項目</a:t>
            </a:r>
            <a:endParaRPr kumimoji="0" lang="en-US" altLang="ja-JP" sz="105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050" kern="0">
              <a:solidFill>
                <a:srgbClr val="000000"/>
              </a:solidFill>
              <a:latin typeface="+mn-ea"/>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050" b="0" i="0" u="none" strike="noStrike" kern="0" cap="none" spc="0" normalizeH="0" baseline="0" noProof="0">
                <a:ln>
                  <a:noFill/>
                </a:ln>
                <a:solidFill>
                  <a:srgbClr val="000000"/>
                </a:solidFill>
                <a:effectLst/>
                <a:uLnTx/>
                <a:uFillTx/>
                <a:latin typeface="+mn-ea"/>
                <a:cs typeface="+mn-cs"/>
              </a:rPr>
              <a:t>文書を検索し、該当文書を表示する機能</a:t>
            </a:r>
            <a:endParaRPr kumimoji="0" lang="en-US" altLang="ja-JP" sz="1050" b="0" i="0" u="none" strike="noStrike" kern="0" cap="none" spc="0" normalizeH="0" baseline="0" noProof="0">
              <a:ln>
                <a:noFill/>
              </a:ln>
              <a:solidFill>
                <a:srgbClr val="000000"/>
              </a:solidFill>
              <a:effectLst/>
              <a:uLnTx/>
              <a:uFillTx/>
              <a:latin typeface="+mn-ea"/>
              <a:cs typeface="+mn-cs"/>
            </a:endParaRPr>
          </a:p>
        </p:txBody>
      </p:sp>
    </p:spTree>
    <p:extLst>
      <p:ext uri="{BB962C8B-B14F-4D97-AF65-F5344CB8AC3E}">
        <p14:creationId xmlns:p14="http://schemas.microsoft.com/office/powerpoint/2010/main" val="9812369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84D1DA-97ED-2719-33EF-A13650BDF7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2A84D1DA-97ED-2719-33EF-A13650BDF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C0CD4ED1-0F74-83B6-F4AC-8C87103B97BF}"/>
              </a:ext>
            </a:extLst>
          </p:cNvPr>
          <p:cNvSpPr>
            <a:spLocks noGrp="1"/>
          </p:cNvSpPr>
          <p:nvPr>
            <p:ph type="title"/>
          </p:nvPr>
        </p:nvSpPr>
        <p:spPr/>
        <p:txBody>
          <a:bodyPr vert="horz"/>
          <a:lstStyle/>
          <a:p>
            <a:r>
              <a:rPr lang="ja-JP" altLang="en-US"/>
              <a:t>２．機能要件</a:t>
            </a:r>
            <a:endParaRPr kumimoji="1" lang="ja-JP" altLang="en-US"/>
          </a:p>
        </p:txBody>
      </p:sp>
      <p:sp>
        <p:nvSpPr>
          <p:cNvPr id="3" name="テキスト プレースホルダー 4">
            <a:extLst>
              <a:ext uri="{FF2B5EF4-FFF2-40B4-BE49-F238E27FC236}">
                <a16:creationId xmlns:a16="http://schemas.microsoft.com/office/drawing/2014/main" id="{251B3422-0C83-F0E0-CEB5-1398EC9D9C0C}"/>
              </a:ext>
            </a:extLst>
          </p:cNvPr>
          <p:cNvSpPr txBox="1">
            <a:spLocks/>
          </p:cNvSpPr>
          <p:nvPr/>
        </p:nvSpPr>
        <p:spPr>
          <a:xfrm>
            <a:off x="251524" y="1052963"/>
            <a:ext cx="8640950" cy="36512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kumimoji="1" lang="ja-JP" altLang="en-US" sz="1800"/>
              <a:t>画面イメージ</a:t>
            </a:r>
            <a:endParaRPr kumimoji="1" lang="en-US" altLang="zh-TW"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28" name="スライド番号プレースホルダー 1">
            <a:extLst>
              <a:ext uri="{FF2B5EF4-FFF2-40B4-BE49-F238E27FC236}">
                <a16:creationId xmlns:a16="http://schemas.microsoft.com/office/drawing/2014/main" id="{B45C7C43-84BC-EB68-B34A-AAE39F6D8E9C}"/>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pic>
        <p:nvPicPr>
          <p:cNvPr id="78" name="図 77">
            <a:extLst>
              <a:ext uri="{FF2B5EF4-FFF2-40B4-BE49-F238E27FC236}">
                <a16:creationId xmlns:a16="http://schemas.microsoft.com/office/drawing/2014/main" id="{C2FA359B-A634-83C5-DF28-6A50F9A34078}"/>
              </a:ext>
            </a:extLst>
          </p:cNvPr>
          <p:cNvPicPr>
            <a:picLocks noChangeAspect="1"/>
          </p:cNvPicPr>
          <p:nvPr/>
        </p:nvPicPr>
        <p:blipFill>
          <a:blip r:embed="rId5"/>
          <a:stretch>
            <a:fillRect/>
          </a:stretch>
        </p:blipFill>
        <p:spPr>
          <a:xfrm>
            <a:off x="225756" y="3209093"/>
            <a:ext cx="2709566" cy="3261599"/>
          </a:xfrm>
          <a:prstGeom prst="rect">
            <a:avLst/>
          </a:prstGeom>
        </p:spPr>
      </p:pic>
      <p:pic>
        <p:nvPicPr>
          <p:cNvPr id="79" name="図 78">
            <a:extLst>
              <a:ext uri="{FF2B5EF4-FFF2-40B4-BE49-F238E27FC236}">
                <a16:creationId xmlns:a16="http://schemas.microsoft.com/office/drawing/2014/main" id="{AD143393-A810-C124-3C73-A4C79190493B}"/>
              </a:ext>
            </a:extLst>
          </p:cNvPr>
          <p:cNvPicPr>
            <a:picLocks noChangeAspect="1"/>
          </p:cNvPicPr>
          <p:nvPr/>
        </p:nvPicPr>
        <p:blipFill rotWithShape="1">
          <a:blip r:embed="rId6"/>
          <a:srcRect b="47981"/>
          <a:stretch/>
        </p:blipFill>
        <p:spPr>
          <a:xfrm>
            <a:off x="4679026" y="2047949"/>
            <a:ext cx="2649868" cy="1321492"/>
          </a:xfrm>
          <a:prstGeom prst="rect">
            <a:avLst/>
          </a:prstGeom>
        </p:spPr>
      </p:pic>
      <p:pic>
        <p:nvPicPr>
          <p:cNvPr id="82" name="図 81">
            <a:extLst>
              <a:ext uri="{FF2B5EF4-FFF2-40B4-BE49-F238E27FC236}">
                <a16:creationId xmlns:a16="http://schemas.microsoft.com/office/drawing/2014/main" id="{1295256A-7454-BCA8-6479-8ADD4BF6E944}"/>
              </a:ext>
            </a:extLst>
          </p:cNvPr>
          <p:cNvPicPr>
            <a:picLocks noChangeAspect="1"/>
          </p:cNvPicPr>
          <p:nvPr/>
        </p:nvPicPr>
        <p:blipFill rotWithShape="1">
          <a:blip r:embed="rId6"/>
          <a:srcRect t="50815"/>
          <a:stretch/>
        </p:blipFill>
        <p:spPr>
          <a:xfrm>
            <a:off x="4677184" y="3535897"/>
            <a:ext cx="2709566" cy="1450797"/>
          </a:xfrm>
          <a:prstGeom prst="rect">
            <a:avLst/>
          </a:prstGeom>
        </p:spPr>
      </p:pic>
      <p:sp>
        <p:nvSpPr>
          <p:cNvPr id="83" name="吹き出し: 線 (枠付き、強調線付き) 82">
            <a:extLst>
              <a:ext uri="{FF2B5EF4-FFF2-40B4-BE49-F238E27FC236}">
                <a16:creationId xmlns:a16="http://schemas.microsoft.com/office/drawing/2014/main" id="{75A62634-CEF8-8768-F6D3-E5751EF29FC1}"/>
              </a:ext>
            </a:extLst>
          </p:cNvPr>
          <p:cNvSpPr/>
          <p:nvPr/>
        </p:nvSpPr>
        <p:spPr>
          <a:xfrm>
            <a:off x="251519" y="3224429"/>
            <a:ext cx="2653955" cy="3246264"/>
          </a:xfrm>
          <a:prstGeom prst="accentBorderCallout1">
            <a:avLst>
              <a:gd name="adj1" fmla="val 5862"/>
              <a:gd name="adj2" fmla="val 104338"/>
              <a:gd name="adj3" fmla="val 5781"/>
              <a:gd name="adj4" fmla="val 116099"/>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84" name="正方形/長方形 83">
            <a:extLst>
              <a:ext uri="{FF2B5EF4-FFF2-40B4-BE49-F238E27FC236}">
                <a16:creationId xmlns:a16="http://schemas.microsoft.com/office/drawing/2014/main" id="{881F402C-1876-F446-7685-26DD30711013}"/>
              </a:ext>
            </a:extLst>
          </p:cNvPr>
          <p:cNvSpPr/>
          <p:nvPr/>
        </p:nvSpPr>
        <p:spPr>
          <a:xfrm>
            <a:off x="3273190" y="3224429"/>
            <a:ext cx="1221633" cy="3261600"/>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sng" strike="noStrike" kern="0" cap="none" spc="0" normalizeH="0" baseline="0" noProof="0">
                <a:ln>
                  <a:noFill/>
                </a:ln>
                <a:solidFill>
                  <a:srgbClr val="000000"/>
                </a:solidFill>
                <a:effectLst/>
                <a:uLnTx/>
                <a:uFillTx/>
                <a:latin typeface="+mn-ea"/>
                <a:cs typeface="+mn-cs"/>
              </a:rPr>
              <a:t>製品に関する情報を入力する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05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050" b="0" i="0" u="none" strike="noStrike" kern="0" cap="none" spc="0" normalizeH="0" baseline="0" noProof="0">
                <a:ln>
                  <a:noFill/>
                </a:ln>
                <a:solidFill>
                  <a:srgbClr val="000000"/>
                </a:solidFill>
                <a:effectLst/>
                <a:uLnTx/>
                <a:uFillTx/>
                <a:latin typeface="+mn-ea"/>
                <a:cs typeface="+mn-cs"/>
              </a:rPr>
              <a:t>品名や顧客名をマスタ情報から入力する機能</a:t>
            </a: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050" b="0" i="0" u="none" strike="noStrike" kern="0" cap="none" spc="0" normalizeH="0" baseline="0" noProof="0">
              <a:ln>
                <a:noFill/>
              </a:ln>
              <a:solidFill>
                <a:srgbClr val="000000"/>
              </a:solidFill>
              <a:effectLst/>
              <a:uLnTx/>
              <a:uFillTx/>
              <a:latin typeface="+mn-ea"/>
              <a:cs typeface="+mn-cs"/>
            </a:endParaRPr>
          </a:p>
        </p:txBody>
      </p:sp>
      <p:sp>
        <p:nvSpPr>
          <p:cNvPr id="85" name="吹き出し: 線 (枠付き、強調線付き) 84">
            <a:extLst>
              <a:ext uri="{FF2B5EF4-FFF2-40B4-BE49-F238E27FC236}">
                <a16:creationId xmlns:a16="http://schemas.microsoft.com/office/drawing/2014/main" id="{1919DEAA-049E-D375-9F18-87C299672303}"/>
              </a:ext>
            </a:extLst>
          </p:cNvPr>
          <p:cNvSpPr/>
          <p:nvPr/>
        </p:nvSpPr>
        <p:spPr>
          <a:xfrm>
            <a:off x="4649180" y="2047949"/>
            <a:ext cx="2679716" cy="1265906"/>
          </a:xfrm>
          <a:prstGeom prst="accentBorderCallout1">
            <a:avLst>
              <a:gd name="adj1" fmla="val 14976"/>
              <a:gd name="adj2" fmla="val 104338"/>
              <a:gd name="adj3" fmla="val 14895"/>
              <a:gd name="adj4" fmla="val 114380"/>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86" name="正方形/長方形 85">
            <a:extLst>
              <a:ext uri="{FF2B5EF4-FFF2-40B4-BE49-F238E27FC236}">
                <a16:creationId xmlns:a16="http://schemas.microsoft.com/office/drawing/2014/main" id="{A734A665-A87D-F11B-F2AE-D85B2477CFA5}"/>
              </a:ext>
            </a:extLst>
          </p:cNvPr>
          <p:cNvSpPr/>
          <p:nvPr/>
        </p:nvSpPr>
        <p:spPr>
          <a:xfrm>
            <a:off x="7696611" y="2038970"/>
            <a:ext cx="1221633" cy="1265907"/>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sng" strike="noStrike" kern="0" cap="none" spc="0" normalizeH="0" baseline="0" noProof="0">
                <a:ln>
                  <a:noFill/>
                </a:ln>
                <a:solidFill>
                  <a:srgbClr val="000000"/>
                </a:solidFill>
                <a:effectLst/>
                <a:uLnTx/>
                <a:uFillTx/>
                <a:latin typeface="+mn-ea"/>
                <a:cs typeface="+mn-cs"/>
              </a:rPr>
              <a:t>ワークフローの設定をする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05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050" b="0" i="0" u="none" strike="noStrike" kern="0" cap="none" spc="0" normalizeH="0" baseline="0" noProof="0">
                <a:ln>
                  <a:noFill/>
                </a:ln>
                <a:solidFill>
                  <a:srgbClr val="000000"/>
                </a:solidFill>
                <a:effectLst/>
                <a:uLnTx/>
                <a:uFillTx/>
                <a:latin typeface="+mn-ea"/>
                <a:cs typeface="+mn-cs"/>
              </a:rPr>
              <a:t>担当者を選択する機能</a:t>
            </a: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050" b="0" i="0" u="none" strike="noStrike" kern="0" cap="none" spc="0" normalizeH="0" baseline="0" noProof="0">
                <a:ln>
                  <a:noFill/>
                </a:ln>
                <a:solidFill>
                  <a:srgbClr val="000000"/>
                </a:solidFill>
                <a:effectLst/>
                <a:uLnTx/>
                <a:uFillTx/>
                <a:latin typeface="+mn-ea"/>
                <a:cs typeface="+mn-cs"/>
              </a:rPr>
              <a:t>登録した宛先に通知する機能</a:t>
            </a: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050" b="0" i="0" u="none" strike="noStrike" kern="0" cap="none" spc="0" normalizeH="0" baseline="0" noProof="0">
              <a:ln>
                <a:noFill/>
              </a:ln>
              <a:solidFill>
                <a:srgbClr val="000000"/>
              </a:solidFill>
              <a:effectLst/>
              <a:uLnTx/>
              <a:uFillTx/>
              <a:latin typeface="+mn-ea"/>
              <a:cs typeface="+mn-cs"/>
            </a:endParaRPr>
          </a:p>
        </p:txBody>
      </p:sp>
      <p:sp>
        <p:nvSpPr>
          <p:cNvPr id="87" name="吹き出し: 線 (枠付き、強調線付き) 86">
            <a:extLst>
              <a:ext uri="{FF2B5EF4-FFF2-40B4-BE49-F238E27FC236}">
                <a16:creationId xmlns:a16="http://schemas.microsoft.com/office/drawing/2014/main" id="{4A02E4AC-8958-FCC4-F0B2-3893ACA676B8}"/>
              </a:ext>
            </a:extLst>
          </p:cNvPr>
          <p:cNvSpPr/>
          <p:nvPr/>
        </p:nvSpPr>
        <p:spPr>
          <a:xfrm>
            <a:off x="4643614" y="3551233"/>
            <a:ext cx="2743135" cy="1435462"/>
          </a:xfrm>
          <a:prstGeom prst="accentBorderCallout1">
            <a:avLst>
              <a:gd name="adj1" fmla="val 12854"/>
              <a:gd name="adj2" fmla="val 104338"/>
              <a:gd name="adj3" fmla="val 12773"/>
              <a:gd name="adj4" fmla="val 113164"/>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88" name="正方形/長方形 87">
            <a:extLst>
              <a:ext uri="{FF2B5EF4-FFF2-40B4-BE49-F238E27FC236}">
                <a16:creationId xmlns:a16="http://schemas.microsoft.com/office/drawing/2014/main" id="{75EC14CE-9952-A8DE-0D58-569B0AC2B836}"/>
              </a:ext>
            </a:extLst>
          </p:cNvPr>
          <p:cNvSpPr/>
          <p:nvPr/>
        </p:nvSpPr>
        <p:spPr>
          <a:xfrm>
            <a:off x="7667625" y="3551233"/>
            <a:ext cx="1295401" cy="1458946"/>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sng" strike="noStrike" kern="0" cap="none" spc="0" normalizeH="0" baseline="0" noProof="0">
                <a:ln>
                  <a:noFill/>
                </a:ln>
                <a:solidFill>
                  <a:srgbClr val="000000"/>
                </a:solidFill>
                <a:effectLst/>
                <a:uLnTx/>
                <a:uFillTx/>
                <a:latin typeface="+mn-ea"/>
                <a:cs typeface="+mn-cs"/>
              </a:rPr>
              <a:t>製品に関する資料を添付する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05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050" b="0" i="0" u="none" strike="noStrike" kern="0" cap="none" spc="0" normalizeH="0" baseline="0" noProof="0">
                <a:ln>
                  <a:noFill/>
                </a:ln>
                <a:solidFill>
                  <a:srgbClr val="000000"/>
                </a:solidFill>
                <a:effectLst/>
                <a:uLnTx/>
                <a:uFillTx/>
                <a:latin typeface="+mn-ea"/>
                <a:cs typeface="+mn-cs"/>
              </a:rPr>
              <a:t>製品に関連する文書を自動で収集する機能</a:t>
            </a: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050" b="0" i="0" u="none" strike="noStrike" kern="0" cap="none" spc="0" normalizeH="0" baseline="0" noProof="0">
              <a:ln>
                <a:noFill/>
              </a:ln>
              <a:solidFill>
                <a:srgbClr val="000000"/>
              </a:solidFill>
              <a:effectLst/>
              <a:uLnTx/>
              <a:uFillTx/>
              <a:latin typeface="+mn-ea"/>
              <a:cs typeface="+mn-cs"/>
            </a:endParaRPr>
          </a:p>
        </p:txBody>
      </p:sp>
      <p:sp>
        <p:nvSpPr>
          <p:cNvPr id="91" name="正方形/長方形 90">
            <a:extLst>
              <a:ext uri="{FF2B5EF4-FFF2-40B4-BE49-F238E27FC236}">
                <a16:creationId xmlns:a16="http://schemas.microsoft.com/office/drawing/2014/main" id="{6CE6E245-6D90-A273-F2A0-D60BE5CDAECB}"/>
              </a:ext>
            </a:extLst>
          </p:cNvPr>
          <p:cNvSpPr/>
          <p:nvPr/>
        </p:nvSpPr>
        <p:spPr>
          <a:xfrm>
            <a:off x="255605" y="1418087"/>
            <a:ext cx="8665427" cy="25841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FFFFFF"/>
                </a:solidFill>
                <a:effectLst/>
                <a:uLnTx/>
                <a:uFillTx/>
                <a:latin typeface="Arial"/>
                <a:ea typeface="游ゴシック Medium"/>
                <a:cs typeface="+mn-cs"/>
              </a:rPr>
              <a:t>納入仕様書イメージ（</a:t>
            </a:r>
            <a:r>
              <a:rPr kumimoji="0" lang="en-US" altLang="ja-JP" sz="1200" b="0" i="0" u="none" strike="noStrike" kern="0" cap="none" spc="0" normalizeH="0" baseline="0" noProof="0">
                <a:ln>
                  <a:noFill/>
                </a:ln>
                <a:solidFill>
                  <a:srgbClr val="FFFFFF"/>
                </a:solidFill>
                <a:effectLst/>
                <a:uLnTx/>
                <a:uFillTx/>
                <a:latin typeface="Arial"/>
                <a:ea typeface="游ゴシック Medium"/>
                <a:cs typeface="+mn-cs"/>
              </a:rPr>
              <a:t>1/2</a:t>
            </a:r>
            <a:r>
              <a:rPr kumimoji="0" lang="ja-JP" altLang="en-US" sz="1200" b="0" i="0" u="none" strike="noStrike" kern="0" cap="none" spc="0" normalizeH="0" baseline="0" noProof="0">
                <a:ln>
                  <a:noFill/>
                </a:ln>
                <a:solidFill>
                  <a:srgbClr val="FFFFFF"/>
                </a:solidFill>
                <a:effectLst/>
                <a:uLnTx/>
                <a:uFillTx/>
                <a:latin typeface="Arial"/>
                <a:ea typeface="游ゴシック Medium"/>
                <a:cs typeface="+mn-cs"/>
              </a:rPr>
              <a:t>）　　　　</a:t>
            </a:r>
          </a:p>
        </p:txBody>
      </p:sp>
      <p:sp>
        <p:nvSpPr>
          <p:cNvPr id="104" name="正方形/長方形 103">
            <a:extLst>
              <a:ext uri="{FF2B5EF4-FFF2-40B4-BE49-F238E27FC236}">
                <a16:creationId xmlns:a16="http://schemas.microsoft.com/office/drawing/2014/main" id="{29033AB2-6ACC-64B2-C7C5-CD7B59A84E7A}"/>
              </a:ext>
            </a:extLst>
          </p:cNvPr>
          <p:cNvSpPr/>
          <p:nvPr/>
        </p:nvSpPr>
        <p:spPr>
          <a:xfrm>
            <a:off x="7184454" y="1499045"/>
            <a:ext cx="1711088" cy="17346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700" b="0" i="0" u="none" strike="noStrike" kern="0" cap="none" spc="0" normalizeH="0" baseline="0" noProof="0">
                <a:ln>
                  <a:noFill/>
                </a:ln>
                <a:solidFill>
                  <a:srgbClr val="FFFFFF"/>
                </a:solidFill>
                <a:effectLst/>
                <a:uLnTx/>
                <a:uFillTx/>
                <a:latin typeface="Arial"/>
                <a:ea typeface="游ゴシック Medium"/>
                <a:cs typeface="+mn-cs"/>
              </a:rPr>
              <a:t>※</a:t>
            </a:r>
            <a:r>
              <a:rPr kumimoji="0" lang="ja-JP" altLang="en-US" sz="700" b="0" i="0" u="none" strike="noStrike" kern="0" cap="none" spc="0" normalizeH="0" baseline="0" noProof="0">
                <a:ln>
                  <a:noFill/>
                </a:ln>
                <a:solidFill>
                  <a:srgbClr val="FFFFFF"/>
                </a:solidFill>
                <a:effectLst/>
                <a:uLnTx/>
                <a:uFillTx/>
                <a:latin typeface="Arial"/>
                <a:ea typeface="游ゴシック Medium"/>
                <a:cs typeface="+mn-cs"/>
              </a:rPr>
              <a:t>現行システムの参考画面です</a:t>
            </a:r>
            <a:endParaRPr kumimoji="0" lang="ja-JP" altLang="en-US" sz="1100" b="0" i="0" u="none" strike="noStrike" kern="0" cap="none" spc="0" normalizeH="0" baseline="0" noProof="0">
              <a:ln>
                <a:noFill/>
              </a:ln>
              <a:solidFill>
                <a:srgbClr val="FFFFFF"/>
              </a:solidFill>
              <a:effectLst/>
              <a:uLnTx/>
              <a:uFillTx/>
              <a:latin typeface="Arial"/>
              <a:ea typeface="游ゴシック Medium"/>
              <a:cs typeface="+mn-cs"/>
            </a:endParaRPr>
          </a:p>
        </p:txBody>
      </p:sp>
      <p:pic>
        <p:nvPicPr>
          <p:cNvPr id="105" name="図 104">
            <a:extLst>
              <a:ext uri="{FF2B5EF4-FFF2-40B4-BE49-F238E27FC236}">
                <a16:creationId xmlns:a16="http://schemas.microsoft.com/office/drawing/2014/main" id="{5743A812-D98F-979B-3EAB-5E5CE5AA588B}"/>
              </a:ext>
            </a:extLst>
          </p:cNvPr>
          <p:cNvPicPr>
            <a:picLocks noChangeAspect="1"/>
          </p:cNvPicPr>
          <p:nvPr/>
        </p:nvPicPr>
        <p:blipFill>
          <a:blip r:embed="rId7"/>
          <a:stretch>
            <a:fillRect/>
          </a:stretch>
        </p:blipFill>
        <p:spPr>
          <a:xfrm>
            <a:off x="251519" y="2132808"/>
            <a:ext cx="2653955" cy="808300"/>
          </a:xfrm>
          <a:prstGeom prst="rect">
            <a:avLst/>
          </a:prstGeom>
        </p:spPr>
      </p:pic>
      <p:sp>
        <p:nvSpPr>
          <p:cNvPr id="106" name="吹き出し: 線 (枠付き、強調線付き) 105">
            <a:extLst>
              <a:ext uri="{FF2B5EF4-FFF2-40B4-BE49-F238E27FC236}">
                <a16:creationId xmlns:a16="http://schemas.microsoft.com/office/drawing/2014/main" id="{68F21377-977B-8487-7180-D7C3CF3D85D2}"/>
              </a:ext>
            </a:extLst>
          </p:cNvPr>
          <p:cNvSpPr/>
          <p:nvPr/>
        </p:nvSpPr>
        <p:spPr>
          <a:xfrm>
            <a:off x="251519" y="2057804"/>
            <a:ext cx="2653956" cy="988357"/>
          </a:xfrm>
          <a:prstGeom prst="accentBorderCallout1">
            <a:avLst>
              <a:gd name="adj1" fmla="val 5862"/>
              <a:gd name="adj2" fmla="val 104338"/>
              <a:gd name="adj3" fmla="val 5781"/>
              <a:gd name="adj4" fmla="val 116099"/>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107" name="正方形/長方形 106">
            <a:extLst>
              <a:ext uri="{FF2B5EF4-FFF2-40B4-BE49-F238E27FC236}">
                <a16:creationId xmlns:a16="http://schemas.microsoft.com/office/drawing/2014/main" id="{E06949D5-C669-E0BE-EAC6-1984A75F7DD9}"/>
              </a:ext>
            </a:extLst>
          </p:cNvPr>
          <p:cNvSpPr/>
          <p:nvPr/>
        </p:nvSpPr>
        <p:spPr>
          <a:xfrm>
            <a:off x="3273190" y="1979444"/>
            <a:ext cx="1221633" cy="1066717"/>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sng" strike="noStrike" kern="0" cap="none" spc="0" normalizeH="0" baseline="0" noProof="0">
                <a:ln>
                  <a:noFill/>
                </a:ln>
                <a:solidFill>
                  <a:srgbClr val="000000"/>
                </a:solidFill>
                <a:effectLst/>
                <a:uLnTx/>
                <a:uFillTx/>
                <a:latin typeface="+mn-ea"/>
                <a:cs typeface="+mn-cs"/>
              </a:rPr>
              <a:t>文書タイトルを入力する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05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050" kern="0">
                <a:solidFill>
                  <a:srgbClr val="000000"/>
                </a:solidFill>
                <a:latin typeface="+mn-ea"/>
              </a:rPr>
              <a:t>タイトル、項番、文書ステータスを保持する機能</a:t>
            </a: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050" b="0" i="0" u="none" strike="noStrike" kern="0" cap="none" spc="0" normalizeH="0" baseline="0" noProof="0">
              <a:ln>
                <a:noFill/>
              </a:ln>
              <a:solidFill>
                <a:srgbClr val="000000"/>
              </a:solidFill>
              <a:effectLst/>
              <a:uLnTx/>
              <a:uFillTx/>
              <a:latin typeface="+mn-ea"/>
              <a:cs typeface="+mn-cs"/>
            </a:endParaRPr>
          </a:p>
        </p:txBody>
      </p:sp>
    </p:spTree>
    <p:extLst>
      <p:ext uri="{BB962C8B-B14F-4D97-AF65-F5344CB8AC3E}">
        <p14:creationId xmlns:p14="http://schemas.microsoft.com/office/powerpoint/2010/main" val="30372688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84D1DA-97ED-2719-33EF-A13650BDF72A}"/>
              </a:ext>
            </a:extLst>
          </p:cNvPr>
          <p:cNvGraphicFramePr>
            <a:graphicFrameLocks noChangeAspect="1"/>
          </p:cNvGraphicFramePr>
          <p:nvPr>
            <p:custDataLst>
              <p:tags r:id="rId1"/>
            </p:custDataLst>
            <p:extLst>
              <p:ext uri="{D42A27DB-BD31-4B8C-83A1-F6EECF244321}">
                <p14:modId xmlns:p14="http://schemas.microsoft.com/office/powerpoint/2010/main" val="2651626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2A84D1DA-97ED-2719-33EF-A13650BDF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8" name="図 37">
            <a:extLst>
              <a:ext uri="{FF2B5EF4-FFF2-40B4-BE49-F238E27FC236}">
                <a16:creationId xmlns:a16="http://schemas.microsoft.com/office/drawing/2014/main" id="{E81242F2-58EA-6F6C-33AD-4A3F9EE2BB68}"/>
              </a:ext>
            </a:extLst>
          </p:cNvPr>
          <p:cNvPicPr>
            <a:picLocks noChangeAspect="1"/>
          </p:cNvPicPr>
          <p:nvPr/>
        </p:nvPicPr>
        <p:blipFill rotWithShape="1">
          <a:blip r:embed="rId5"/>
          <a:srcRect r="7143" b="61472"/>
          <a:stretch/>
        </p:blipFill>
        <p:spPr>
          <a:xfrm>
            <a:off x="250482" y="5055716"/>
            <a:ext cx="2626624" cy="1226191"/>
          </a:xfrm>
          <a:prstGeom prst="rect">
            <a:avLst/>
          </a:prstGeom>
        </p:spPr>
      </p:pic>
      <p:sp>
        <p:nvSpPr>
          <p:cNvPr id="4" name="タイトル 3">
            <a:extLst>
              <a:ext uri="{FF2B5EF4-FFF2-40B4-BE49-F238E27FC236}">
                <a16:creationId xmlns:a16="http://schemas.microsoft.com/office/drawing/2014/main" id="{C0CD4ED1-0F74-83B6-F4AC-8C87103B97BF}"/>
              </a:ext>
            </a:extLst>
          </p:cNvPr>
          <p:cNvSpPr>
            <a:spLocks noGrp="1"/>
          </p:cNvSpPr>
          <p:nvPr>
            <p:ph type="title"/>
          </p:nvPr>
        </p:nvSpPr>
        <p:spPr/>
        <p:txBody>
          <a:bodyPr vert="horz"/>
          <a:lstStyle/>
          <a:p>
            <a:r>
              <a:rPr lang="ja-JP" altLang="en-US"/>
              <a:t>２．機能要件</a:t>
            </a:r>
            <a:endParaRPr kumimoji="1" lang="ja-JP" altLang="en-US"/>
          </a:p>
        </p:txBody>
      </p:sp>
      <p:sp>
        <p:nvSpPr>
          <p:cNvPr id="3" name="テキスト プレースホルダー 4">
            <a:extLst>
              <a:ext uri="{FF2B5EF4-FFF2-40B4-BE49-F238E27FC236}">
                <a16:creationId xmlns:a16="http://schemas.microsoft.com/office/drawing/2014/main" id="{251B3422-0C83-F0E0-CEB5-1398EC9D9C0C}"/>
              </a:ext>
            </a:extLst>
          </p:cNvPr>
          <p:cNvSpPr txBox="1">
            <a:spLocks/>
          </p:cNvSpPr>
          <p:nvPr/>
        </p:nvSpPr>
        <p:spPr>
          <a:xfrm>
            <a:off x="251524" y="1052963"/>
            <a:ext cx="8640950" cy="36512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kumimoji="1" lang="ja-JP" altLang="en-US" sz="1800"/>
              <a:t>画面イメージ</a:t>
            </a:r>
            <a:endParaRPr kumimoji="1" lang="en-US" altLang="zh-TW"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28" name="スライド番号プレースホルダー 1">
            <a:extLst>
              <a:ext uri="{FF2B5EF4-FFF2-40B4-BE49-F238E27FC236}">
                <a16:creationId xmlns:a16="http://schemas.microsoft.com/office/drawing/2014/main" id="{B45C7C43-84BC-EB68-B34A-AAE39F6D8E9C}"/>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91" name="正方形/長方形 90">
            <a:extLst>
              <a:ext uri="{FF2B5EF4-FFF2-40B4-BE49-F238E27FC236}">
                <a16:creationId xmlns:a16="http://schemas.microsoft.com/office/drawing/2014/main" id="{6CE6E245-6D90-A273-F2A0-D60BE5CDAECB}"/>
              </a:ext>
            </a:extLst>
          </p:cNvPr>
          <p:cNvSpPr/>
          <p:nvPr/>
        </p:nvSpPr>
        <p:spPr>
          <a:xfrm>
            <a:off x="255605" y="1418087"/>
            <a:ext cx="8665427" cy="25841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FFFFFF"/>
                </a:solidFill>
                <a:effectLst/>
                <a:uLnTx/>
                <a:uFillTx/>
                <a:latin typeface="Arial"/>
                <a:ea typeface="游ゴシック Medium"/>
                <a:cs typeface="+mn-cs"/>
              </a:rPr>
              <a:t>納入仕様書イメージ（</a:t>
            </a:r>
            <a:r>
              <a:rPr kumimoji="0" lang="en-US" altLang="ja-JP" sz="1200" b="0" i="0" u="none" strike="noStrike" kern="0" cap="none" spc="0" normalizeH="0" baseline="0" noProof="0">
                <a:ln>
                  <a:noFill/>
                </a:ln>
                <a:solidFill>
                  <a:srgbClr val="FFFFFF"/>
                </a:solidFill>
                <a:effectLst/>
                <a:uLnTx/>
                <a:uFillTx/>
                <a:latin typeface="Arial"/>
                <a:ea typeface="游ゴシック Medium"/>
                <a:cs typeface="+mn-cs"/>
              </a:rPr>
              <a:t>2/2</a:t>
            </a:r>
            <a:r>
              <a:rPr kumimoji="0" lang="ja-JP" altLang="en-US" sz="1200" b="0" i="0" u="none" strike="noStrike" kern="0" cap="none" spc="0" normalizeH="0" baseline="0" noProof="0">
                <a:ln>
                  <a:noFill/>
                </a:ln>
                <a:solidFill>
                  <a:srgbClr val="FFFFFF"/>
                </a:solidFill>
                <a:effectLst/>
                <a:uLnTx/>
                <a:uFillTx/>
                <a:latin typeface="Arial"/>
                <a:ea typeface="游ゴシック Medium"/>
                <a:cs typeface="+mn-cs"/>
              </a:rPr>
              <a:t>） 　　　　</a:t>
            </a:r>
          </a:p>
        </p:txBody>
      </p:sp>
      <p:sp>
        <p:nvSpPr>
          <p:cNvPr id="92" name="正方形/長方形 91">
            <a:extLst>
              <a:ext uri="{FF2B5EF4-FFF2-40B4-BE49-F238E27FC236}">
                <a16:creationId xmlns:a16="http://schemas.microsoft.com/office/drawing/2014/main" id="{FB29D3D2-993B-758A-AE64-338460FA6218}"/>
              </a:ext>
            </a:extLst>
          </p:cNvPr>
          <p:cNvSpPr/>
          <p:nvPr/>
        </p:nvSpPr>
        <p:spPr>
          <a:xfrm>
            <a:off x="7184454" y="1499045"/>
            <a:ext cx="1711088" cy="17346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700" b="0" i="0" u="none" strike="noStrike" kern="0" cap="none" spc="0" normalizeH="0" baseline="0" noProof="0">
                <a:ln>
                  <a:noFill/>
                </a:ln>
                <a:solidFill>
                  <a:srgbClr val="FFFFFF"/>
                </a:solidFill>
                <a:effectLst/>
                <a:uLnTx/>
                <a:uFillTx/>
                <a:latin typeface="Arial"/>
                <a:ea typeface="游ゴシック Medium"/>
                <a:cs typeface="+mn-cs"/>
              </a:rPr>
              <a:t>※</a:t>
            </a:r>
            <a:r>
              <a:rPr kumimoji="0" lang="ja-JP" altLang="en-US" sz="700" b="0" i="0" u="none" strike="noStrike" kern="0" cap="none" spc="0" normalizeH="0" baseline="0" noProof="0">
                <a:ln>
                  <a:noFill/>
                </a:ln>
                <a:solidFill>
                  <a:srgbClr val="FFFFFF"/>
                </a:solidFill>
                <a:effectLst/>
                <a:uLnTx/>
                <a:uFillTx/>
                <a:latin typeface="Arial"/>
                <a:ea typeface="游ゴシック Medium"/>
                <a:cs typeface="+mn-cs"/>
              </a:rPr>
              <a:t>現行システムの参考画面です</a:t>
            </a:r>
            <a:endParaRPr kumimoji="0" lang="ja-JP" altLang="en-US" sz="1100" b="0" i="0" u="none" strike="noStrike" kern="0" cap="none" spc="0" normalizeH="0" baseline="0" noProof="0">
              <a:ln>
                <a:noFill/>
              </a:ln>
              <a:solidFill>
                <a:srgbClr val="FFFFFF"/>
              </a:solidFill>
              <a:effectLst/>
              <a:uLnTx/>
              <a:uFillTx/>
              <a:latin typeface="Arial"/>
              <a:ea typeface="游ゴシック Medium"/>
              <a:cs typeface="+mn-cs"/>
            </a:endParaRPr>
          </a:p>
        </p:txBody>
      </p:sp>
      <p:pic>
        <p:nvPicPr>
          <p:cNvPr id="23" name="図 22">
            <a:extLst>
              <a:ext uri="{FF2B5EF4-FFF2-40B4-BE49-F238E27FC236}">
                <a16:creationId xmlns:a16="http://schemas.microsoft.com/office/drawing/2014/main" id="{C31E846A-07EE-3E2C-D63B-FD087572E5FA}"/>
              </a:ext>
            </a:extLst>
          </p:cNvPr>
          <p:cNvPicPr>
            <a:picLocks noChangeAspect="1"/>
          </p:cNvPicPr>
          <p:nvPr/>
        </p:nvPicPr>
        <p:blipFill rotWithShape="1">
          <a:blip r:embed="rId5"/>
          <a:srcRect t="41944"/>
          <a:stretch/>
        </p:blipFill>
        <p:spPr>
          <a:xfrm>
            <a:off x="4430808" y="1876781"/>
            <a:ext cx="2796996" cy="1711768"/>
          </a:xfrm>
          <a:prstGeom prst="rect">
            <a:avLst/>
          </a:prstGeom>
        </p:spPr>
      </p:pic>
      <p:pic>
        <p:nvPicPr>
          <p:cNvPr id="24" name="図 23">
            <a:extLst>
              <a:ext uri="{FF2B5EF4-FFF2-40B4-BE49-F238E27FC236}">
                <a16:creationId xmlns:a16="http://schemas.microsoft.com/office/drawing/2014/main" id="{F255EA3F-4A23-7B42-7DB3-046DA39E78EC}"/>
              </a:ext>
            </a:extLst>
          </p:cNvPr>
          <p:cNvPicPr>
            <a:picLocks noChangeAspect="1"/>
          </p:cNvPicPr>
          <p:nvPr/>
        </p:nvPicPr>
        <p:blipFill>
          <a:blip r:embed="rId6"/>
          <a:stretch>
            <a:fillRect/>
          </a:stretch>
        </p:blipFill>
        <p:spPr>
          <a:xfrm>
            <a:off x="4430806" y="3670500"/>
            <a:ext cx="2810295" cy="1253900"/>
          </a:xfrm>
          <a:prstGeom prst="rect">
            <a:avLst/>
          </a:prstGeom>
        </p:spPr>
      </p:pic>
      <p:sp>
        <p:nvSpPr>
          <p:cNvPr id="27" name="吹き出し: 線 (枠付き、強調線付き) 26">
            <a:extLst>
              <a:ext uri="{FF2B5EF4-FFF2-40B4-BE49-F238E27FC236}">
                <a16:creationId xmlns:a16="http://schemas.microsoft.com/office/drawing/2014/main" id="{33C28B48-7D7F-8DE1-DB03-ABE7BD6C8C24}"/>
              </a:ext>
            </a:extLst>
          </p:cNvPr>
          <p:cNvSpPr/>
          <p:nvPr/>
        </p:nvSpPr>
        <p:spPr>
          <a:xfrm>
            <a:off x="4444105" y="1823491"/>
            <a:ext cx="2796996" cy="1761137"/>
          </a:xfrm>
          <a:prstGeom prst="accentBorderCallout1">
            <a:avLst>
              <a:gd name="adj1" fmla="val 5862"/>
              <a:gd name="adj2" fmla="val 104338"/>
              <a:gd name="adj3" fmla="val 5781"/>
              <a:gd name="adj4" fmla="val 116099"/>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29" name="吹き出し: 線 (枠付き、強調線付き) 28">
            <a:extLst>
              <a:ext uri="{FF2B5EF4-FFF2-40B4-BE49-F238E27FC236}">
                <a16:creationId xmlns:a16="http://schemas.microsoft.com/office/drawing/2014/main" id="{BA78ADCD-AFEE-9013-2051-A4AE1052BDF0}"/>
              </a:ext>
            </a:extLst>
          </p:cNvPr>
          <p:cNvSpPr/>
          <p:nvPr/>
        </p:nvSpPr>
        <p:spPr>
          <a:xfrm>
            <a:off x="4430806" y="3670500"/>
            <a:ext cx="2810295" cy="1253900"/>
          </a:xfrm>
          <a:prstGeom prst="accentBorderCallout1">
            <a:avLst>
              <a:gd name="adj1" fmla="val 5862"/>
              <a:gd name="adj2" fmla="val 104338"/>
              <a:gd name="adj3" fmla="val 5781"/>
              <a:gd name="adj4" fmla="val 116099"/>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30" name="正方形/長方形 29">
            <a:extLst>
              <a:ext uri="{FF2B5EF4-FFF2-40B4-BE49-F238E27FC236}">
                <a16:creationId xmlns:a16="http://schemas.microsoft.com/office/drawing/2014/main" id="{3448C59E-558C-342D-EA1A-7AE67789B08F}"/>
              </a:ext>
            </a:extLst>
          </p:cNvPr>
          <p:cNvSpPr/>
          <p:nvPr/>
        </p:nvSpPr>
        <p:spPr>
          <a:xfrm>
            <a:off x="7632510" y="1717637"/>
            <a:ext cx="1346426" cy="1805275"/>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sng" strike="noStrike" kern="0" cap="none" spc="0" normalizeH="0" baseline="0" noProof="0">
                <a:ln>
                  <a:noFill/>
                </a:ln>
                <a:solidFill>
                  <a:srgbClr val="000000"/>
                </a:solidFill>
                <a:effectLst/>
                <a:uLnTx/>
                <a:uFillTx/>
                <a:latin typeface="+mn-ea"/>
                <a:cs typeface="+mn-cs"/>
              </a:rPr>
              <a:t>顧客提出・運用開始日を登録する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20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050" b="0" i="0" u="none" strike="noStrike" kern="0" cap="none" spc="0" normalizeH="0" baseline="0" noProof="0">
                <a:ln>
                  <a:noFill/>
                </a:ln>
                <a:solidFill>
                  <a:srgbClr val="000000"/>
                </a:solidFill>
                <a:effectLst/>
                <a:uLnTx/>
                <a:uFillTx/>
                <a:latin typeface="+mn-ea"/>
                <a:cs typeface="+mn-cs"/>
              </a:rPr>
              <a:t>顧客提出したことを通知する機能</a:t>
            </a: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050" b="0" i="0" u="none" strike="noStrike" kern="0" cap="none" spc="0" normalizeH="0" baseline="0" noProof="0">
                <a:ln>
                  <a:noFill/>
                </a:ln>
                <a:solidFill>
                  <a:srgbClr val="000000"/>
                </a:solidFill>
                <a:effectLst/>
                <a:uLnTx/>
                <a:uFillTx/>
                <a:latin typeface="+mn-ea"/>
                <a:cs typeface="+mn-cs"/>
              </a:rPr>
              <a:t>登録した宛先に通知する機能</a:t>
            </a:r>
            <a:endParaRPr kumimoji="0" lang="en-US" altLang="ja-JP" sz="1050" b="0" i="0" u="none"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200" b="0" i="0" u="none" strike="noStrike" kern="0" cap="none" spc="0" normalizeH="0" baseline="0" noProof="0">
              <a:ln>
                <a:noFill/>
              </a:ln>
              <a:solidFill>
                <a:srgbClr val="000000"/>
              </a:solidFill>
              <a:effectLst/>
              <a:uLnTx/>
              <a:uFillTx/>
              <a:latin typeface="+mn-ea"/>
              <a:cs typeface="+mn-cs"/>
            </a:endParaRPr>
          </a:p>
        </p:txBody>
      </p:sp>
      <p:sp>
        <p:nvSpPr>
          <p:cNvPr id="31" name="正方形/長方形 30">
            <a:extLst>
              <a:ext uri="{FF2B5EF4-FFF2-40B4-BE49-F238E27FC236}">
                <a16:creationId xmlns:a16="http://schemas.microsoft.com/office/drawing/2014/main" id="{D37B6B79-C61D-5F76-895C-94CB6A689E20}"/>
              </a:ext>
            </a:extLst>
          </p:cNvPr>
          <p:cNvSpPr/>
          <p:nvPr/>
        </p:nvSpPr>
        <p:spPr>
          <a:xfrm>
            <a:off x="7632510" y="3637918"/>
            <a:ext cx="1346426" cy="1284086"/>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sng" strike="noStrike" kern="0" cap="none" spc="0" normalizeH="0" baseline="0" noProof="0">
                <a:ln>
                  <a:noFill/>
                </a:ln>
                <a:solidFill>
                  <a:srgbClr val="000000"/>
                </a:solidFill>
                <a:effectLst/>
                <a:uLnTx/>
                <a:uFillTx/>
                <a:latin typeface="+mn-ea"/>
                <a:cs typeface="+mn-cs"/>
              </a:rPr>
              <a:t>契約状況を登録する項目</a:t>
            </a:r>
            <a:br>
              <a:rPr kumimoji="0" lang="en-US" altLang="ja-JP" sz="1200" b="0" i="0" u="sng" strike="noStrike" kern="0" cap="none" spc="0" normalizeH="0" baseline="0" noProof="0">
                <a:ln>
                  <a:noFill/>
                </a:ln>
                <a:solidFill>
                  <a:srgbClr val="000000"/>
                </a:solidFill>
                <a:effectLst/>
                <a:uLnTx/>
                <a:uFillTx/>
                <a:latin typeface="+mn-ea"/>
                <a:cs typeface="+mn-cs"/>
              </a:rPr>
            </a:br>
            <a:endParaRPr kumimoji="0" lang="en-US" altLang="ja-JP" sz="120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050" b="0" i="0" u="none" strike="noStrike" kern="0" cap="none" spc="0" normalizeH="0" baseline="0" noProof="0">
                <a:ln>
                  <a:noFill/>
                </a:ln>
                <a:solidFill>
                  <a:srgbClr val="000000"/>
                </a:solidFill>
                <a:effectLst/>
                <a:uLnTx/>
                <a:uFillTx/>
                <a:latin typeface="+mn-ea"/>
                <a:cs typeface="+mn-cs"/>
              </a:rPr>
              <a:t>締結完了または契約不成立を登録する機能</a:t>
            </a: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200" b="0" i="0" u="none" strike="noStrike" kern="0" cap="none" spc="0" normalizeH="0" baseline="0" noProof="0">
              <a:ln>
                <a:noFill/>
              </a:ln>
              <a:solidFill>
                <a:srgbClr val="000000"/>
              </a:solidFill>
              <a:effectLst/>
              <a:uLnTx/>
              <a:uFillTx/>
              <a:latin typeface="+mn-ea"/>
              <a:cs typeface="+mn-cs"/>
            </a:endParaRPr>
          </a:p>
        </p:txBody>
      </p:sp>
      <p:pic>
        <p:nvPicPr>
          <p:cNvPr id="34" name="図 33">
            <a:extLst>
              <a:ext uri="{FF2B5EF4-FFF2-40B4-BE49-F238E27FC236}">
                <a16:creationId xmlns:a16="http://schemas.microsoft.com/office/drawing/2014/main" id="{945BC11A-EA86-7D08-0448-DE513290B024}"/>
              </a:ext>
            </a:extLst>
          </p:cNvPr>
          <p:cNvPicPr>
            <a:picLocks noChangeAspect="1"/>
          </p:cNvPicPr>
          <p:nvPr/>
        </p:nvPicPr>
        <p:blipFill>
          <a:blip r:embed="rId7"/>
          <a:stretch>
            <a:fillRect/>
          </a:stretch>
        </p:blipFill>
        <p:spPr>
          <a:xfrm>
            <a:off x="251519" y="1873085"/>
            <a:ext cx="2524209" cy="3111830"/>
          </a:xfrm>
          <a:prstGeom prst="rect">
            <a:avLst/>
          </a:prstGeom>
        </p:spPr>
      </p:pic>
      <p:sp>
        <p:nvSpPr>
          <p:cNvPr id="35" name="吹き出し: 線 (枠付き、強調線付き) 34">
            <a:extLst>
              <a:ext uri="{FF2B5EF4-FFF2-40B4-BE49-F238E27FC236}">
                <a16:creationId xmlns:a16="http://schemas.microsoft.com/office/drawing/2014/main" id="{56473014-D166-E9CA-FC1F-46A765F381A0}"/>
              </a:ext>
            </a:extLst>
          </p:cNvPr>
          <p:cNvSpPr/>
          <p:nvPr/>
        </p:nvSpPr>
        <p:spPr>
          <a:xfrm>
            <a:off x="250482" y="1873085"/>
            <a:ext cx="2582036" cy="4408822"/>
          </a:xfrm>
          <a:prstGeom prst="accentBorderCallout1">
            <a:avLst>
              <a:gd name="adj1" fmla="val 5342"/>
              <a:gd name="adj2" fmla="val 104338"/>
              <a:gd name="adj3" fmla="val 5477"/>
              <a:gd name="adj4" fmla="val 113164"/>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36" name="正方形/長方形 35">
            <a:extLst>
              <a:ext uri="{FF2B5EF4-FFF2-40B4-BE49-F238E27FC236}">
                <a16:creationId xmlns:a16="http://schemas.microsoft.com/office/drawing/2014/main" id="{9F0CADBE-6645-4BA8-A73A-5B462BF8A346}"/>
              </a:ext>
            </a:extLst>
          </p:cNvPr>
          <p:cNvSpPr/>
          <p:nvPr/>
        </p:nvSpPr>
        <p:spPr>
          <a:xfrm>
            <a:off x="3135406" y="1823491"/>
            <a:ext cx="1194026" cy="3152446"/>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sng" strike="noStrike" kern="0" cap="none" spc="0" normalizeH="0" baseline="0" noProof="0">
                <a:ln>
                  <a:noFill/>
                </a:ln>
                <a:solidFill>
                  <a:srgbClr val="000000"/>
                </a:solidFill>
                <a:effectLst/>
                <a:uLnTx/>
                <a:uFillTx/>
                <a:latin typeface="+mn-ea"/>
                <a:cs typeface="+mn-cs"/>
              </a:rPr>
              <a:t>ワークフローの設定をする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05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050" b="0" i="0" u="none" strike="noStrike" kern="0" cap="none" spc="0" normalizeH="0" baseline="0" noProof="0">
                <a:ln>
                  <a:noFill/>
                </a:ln>
                <a:solidFill>
                  <a:srgbClr val="000000"/>
                </a:solidFill>
                <a:effectLst/>
                <a:uLnTx/>
                <a:uFillTx/>
                <a:latin typeface="+mn-ea"/>
                <a:cs typeface="+mn-cs"/>
              </a:rPr>
              <a:t>マスタ情報からルート選択する機能</a:t>
            </a: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050" b="0" i="0" u="none" strike="noStrike" kern="0" cap="none" spc="0" normalizeH="0" baseline="0" noProof="0">
                <a:ln>
                  <a:noFill/>
                </a:ln>
                <a:solidFill>
                  <a:srgbClr val="000000"/>
                </a:solidFill>
                <a:effectLst/>
                <a:uLnTx/>
                <a:uFillTx/>
                <a:latin typeface="+mn-ea"/>
                <a:cs typeface="+mn-cs"/>
              </a:rPr>
              <a:t>担当者を選択する機能</a:t>
            </a: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050" b="0" i="0" u="none" strike="noStrike" kern="0" cap="none" spc="0" normalizeH="0" baseline="0" noProof="0">
                <a:ln>
                  <a:noFill/>
                </a:ln>
                <a:solidFill>
                  <a:srgbClr val="000000"/>
                </a:solidFill>
                <a:effectLst/>
                <a:uLnTx/>
                <a:uFillTx/>
                <a:latin typeface="+mn-ea"/>
                <a:cs typeface="+mn-cs"/>
              </a:rPr>
              <a:t>登録した宛先に通知する機能</a:t>
            </a: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050" b="0" i="0" u="none" strike="noStrike" kern="0" cap="none" spc="0" normalizeH="0" baseline="0" noProof="0">
              <a:ln>
                <a:noFill/>
              </a:ln>
              <a:solidFill>
                <a:srgbClr val="000000"/>
              </a:solidFill>
              <a:effectLst/>
              <a:uLnTx/>
              <a:uFillTx/>
              <a:latin typeface="+mn-ea"/>
              <a:cs typeface="+mn-cs"/>
            </a:endParaRPr>
          </a:p>
        </p:txBody>
      </p:sp>
      <p:grpSp>
        <p:nvGrpSpPr>
          <p:cNvPr id="43" name="グループ化 42">
            <a:extLst>
              <a:ext uri="{FF2B5EF4-FFF2-40B4-BE49-F238E27FC236}">
                <a16:creationId xmlns:a16="http://schemas.microsoft.com/office/drawing/2014/main" id="{01C20F29-2C08-8806-F1ED-A6637D44ABE3}"/>
              </a:ext>
            </a:extLst>
          </p:cNvPr>
          <p:cNvGrpSpPr/>
          <p:nvPr/>
        </p:nvGrpSpPr>
        <p:grpSpPr>
          <a:xfrm>
            <a:off x="4444105" y="4971469"/>
            <a:ext cx="2754518" cy="1621162"/>
            <a:chOff x="3135405" y="3657648"/>
            <a:chExt cx="7259064" cy="4093131"/>
          </a:xfrm>
        </p:grpSpPr>
        <p:pic>
          <p:nvPicPr>
            <p:cNvPr id="41" name="図 40">
              <a:extLst>
                <a:ext uri="{FF2B5EF4-FFF2-40B4-BE49-F238E27FC236}">
                  <a16:creationId xmlns:a16="http://schemas.microsoft.com/office/drawing/2014/main" id="{478A04E9-4BF2-F6FC-C1EE-C3DF6E283A9B}"/>
                </a:ext>
              </a:extLst>
            </p:cNvPr>
            <p:cNvPicPr>
              <a:picLocks noChangeAspect="1"/>
            </p:cNvPicPr>
            <p:nvPr/>
          </p:nvPicPr>
          <p:blipFill>
            <a:blip r:embed="rId8"/>
            <a:stretch>
              <a:fillRect/>
            </a:stretch>
          </p:blipFill>
          <p:spPr>
            <a:xfrm>
              <a:off x="3135405" y="3657648"/>
              <a:ext cx="7259063" cy="1714739"/>
            </a:xfrm>
            <a:prstGeom prst="rect">
              <a:avLst/>
            </a:prstGeom>
          </p:spPr>
        </p:pic>
        <p:pic>
          <p:nvPicPr>
            <p:cNvPr id="42" name="図 41">
              <a:extLst>
                <a:ext uri="{FF2B5EF4-FFF2-40B4-BE49-F238E27FC236}">
                  <a16:creationId xmlns:a16="http://schemas.microsoft.com/office/drawing/2014/main" id="{22BA5C1D-5E48-44BD-FC49-4A753255DB8A}"/>
                </a:ext>
              </a:extLst>
            </p:cNvPr>
            <p:cNvPicPr>
              <a:picLocks noChangeAspect="1"/>
            </p:cNvPicPr>
            <p:nvPr/>
          </p:nvPicPr>
          <p:blipFill>
            <a:blip r:embed="rId9"/>
            <a:stretch>
              <a:fillRect/>
            </a:stretch>
          </p:blipFill>
          <p:spPr>
            <a:xfrm>
              <a:off x="3135406" y="5445407"/>
              <a:ext cx="7259063" cy="2305372"/>
            </a:xfrm>
            <a:prstGeom prst="rect">
              <a:avLst/>
            </a:prstGeom>
          </p:spPr>
        </p:pic>
      </p:grpSp>
      <p:sp>
        <p:nvSpPr>
          <p:cNvPr id="44" name="吹き出し: 線 (枠付き、強調線付き) 43">
            <a:extLst>
              <a:ext uri="{FF2B5EF4-FFF2-40B4-BE49-F238E27FC236}">
                <a16:creationId xmlns:a16="http://schemas.microsoft.com/office/drawing/2014/main" id="{0362D60C-DFD7-DF1F-AC72-237853166EE4}"/>
              </a:ext>
            </a:extLst>
          </p:cNvPr>
          <p:cNvSpPr/>
          <p:nvPr/>
        </p:nvSpPr>
        <p:spPr>
          <a:xfrm>
            <a:off x="4444105" y="4980709"/>
            <a:ext cx="2796996" cy="1611921"/>
          </a:xfrm>
          <a:prstGeom prst="accentBorderCallout1">
            <a:avLst>
              <a:gd name="adj1" fmla="val 5862"/>
              <a:gd name="adj2" fmla="val 104338"/>
              <a:gd name="adj3" fmla="val 5781"/>
              <a:gd name="adj4" fmla="val 116099"/>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45" name="正方形/長方形 44">
            <a:extLst>
              <a:ext uri="{FF2B5EF4-FFF2-40B4-BE49-F238E27FC236}">
                <a16:creationId xmlns:a16="http://schemas.microsoft.com/office/drawing/2014/main" id="{5ED54640-6990-916B-D432-8CB228DC646D}"/>
              </a:ext>
            </a:extLst>
          </p:cNvPr>
          <p:cNvSpPr/>
          <p:nvPr/>
        </p:nvSpPr>
        <p:spPr>
          <a:xfrm>
            <a:off x="7632510" y="4959729"/>
            <a:ext cx="1346426" cy="1284086"/>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sng" strike="noStrike" kern="0" cap="none" spc="0" normalizeH="0" baseline="0" noProof="0">
                <a:ln>
                  <a:noFill/>
                </a:ln>
                <a:solidFill>
                  <a:srgbClr val="000000"/>
                </a:solidFill>
                <a:effectLst/>
                <a:uLnTx/>
                <a:uFillTx/>
                <a:latin typeface="+mn-ea"/>
                <a:cs typeface="+mn-cs"/>
              </a:rPr>
              <a:t>文書情報を保持する項目</a:t>
            </a:r>
            <a:br>
              <a:rPr kumimoji="0" lang="en-US" altLang="ja-JP" sz="1200" b="0" i="0" u="sng" strike="noStrike" kern="0" cap="none" spc="0" normalizeH="0" baseline="0" noProof="0">
                <a:ln>
                  <a:noFill/>
                </a:ln>
                <a:solidFill>
                  <a:srgbClr val="000000"/>
                </a:solidFill>
                <a:effectLst/>
                <a:uLnTx/>
                <a:uFillTx/>
                <a:latin typeface="+mn-ea"/>
                <a:cs typeface="+mn-cs"/>
              </a:rPr>
            </a:br>
            <a:endParaRPr kumimoji="0" lang="en-US" altLang="ja-JP" sz="120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050" kern="0">
                <a:solidFill>
                  <a:srgbClr val="000000"/>
                </a:solidFill>
                <a:latin typeface="+mn-ea"/>
              </a:rPr>
              <a:t>履歴や開示情報を保持する機能</a:t>
            </a: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200" b="0" i="0" u="none" strike="noStrike" kern="0" cap="none" spc="0" normalizeH="0" baseline="0" noProof="0">
              <a:ln>
                <a:noFill/>
              </a:ln>
              <a:solidFill>
                <a:srgbClr val="000000"/>
              </a:solidFill>
              <a:effectLst/>
              <a:uLnTx/>
              <a:uFillTx/>
              <a:latin typeface="+mn-ea"/>
              <a:cs typeface="+mn-cs"/>
            </a:endParaRPr>
          </a:p>
        </p:txBody>
      </p:sp>
    </p:spTree>
    <p:extLst>
      <p:ext uri="{BB962C8B-B14F-4D97-AF65-F5344CB8AC3E}">
        <p14:creationId xmlns:p14="http://schemas.microsoft.com/office/powerpoint/2010/main" val="31132280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84D1DA-97ED-2719-33EF-A13650BDF72A}"/>
              </a:ext>
            </a:extLst>
          </p:cNvPr>
          <p:cNvGraphicFramePr>
            <a:graphicFrameLocks noChangeAspect="1"/>
          </p:cNvGraphicFramePr>
          <p:nvPr>
            <p:custDataLst>
              <p:tags r:id="rId1"/>
            </p:custDataLst>
            <p:extLst>
              <p:ext uri="{D42A27DB-BD31-4B8C-83A1-F6EECF244321}">
                <p14:modId xmlns:p14="http://schemas.microsoft.com/office/powerpoint/2010/main" val="2754014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2A84D1DA-97ED-2719-33EF-A13650BDF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54D8FBF3-78A4-C6C7-50A5-CAAC3820E295}"/>
              </a:ext>
            </a:extLst>
          </p:cNvPr>
          <p:cNvPicPr>
            <a:picLocks noChangeAspect="1"/>
          </p:cNvPicPr>
          <p:nvPr/>
        </p:nvPicPr>
        <p:blipFill rotWithShape="1">
          <a:blip r:embed="rId5"/>
          <a:srcRect b="37758"/>
          <a:stretch/>
        </p:blipFill>
        <p:spPr>
          <a:xfrm>
            <a:off x="257975" y="1873085"/>
            <a:ext cx="2581191" cy="1903640"/>
          </a:xfrm>
          <a:prstGeom prst="rect">
            <a:avLst/>
          </a:prstGeom>
        </p:spPr>
      </p:pic>
      <p:sp>
        <p:nvSpPr>
          <p:cNvPr id="4" name="タイトル 3">
            <a:extLst>
              <a:ext uri="{FF2B5EF4-FFF2-40B4-BE49-F238E27FC236}">
                <a16:creationId xmlns:a16="http://schemas.microsoft.com/office/drawing/2014/main" id="{C0CD4ED1-0F74-83B6-F4AC-8C87103B97BF}"/>
              </a:ext>
            </a:extLst>
          </p:cNvPr>
          <p:cNvSpPr>
            <a:spLocks noGrp="1"/>
          </p:cNvSpPr>
          <p:nvPr>
            <p:ph type="title"/>
          </p:nvPr>
        </p:nvSpPr>
        <p:spPr/>
        <p:txBody>
          <a:bodyPr vert="horz"/>
          <a:lstStyle/>
          <a:p>
            <a:r>
              <a:rPr lang="ja-JP" altLang="en-US"/>
              <a:t>２．機能要件</a:t>
            </a:r>
            <a:endParaRPr kumimoji="1" lang="ja-JP" altLang="en-US"/>
          </a:p>
        </p:txBody>
      </p:sp>
      <p:sp>
        <p:nvSpPr>
          <p:cNvPr id="3" name="テキスト プレースホルダー 4">
            <a:extLst>
              <a:ext uri="{FF2B5EF4-FFF2-40B4-BE49-F238E27FC236}">
                <a16:creationId xmlns:a16="http://schemas.microsoft.com/office/drawing/2014/main" id="{251B3422-0C83-F0E0-CEB5-1398EC9D9C0C}"/>
              </a:ext>
            </a:extLst>
          </p:cNvPr>
          <p:cNvSpPr txBox="1">
            <a:spLocks/>
          </p:cNvSpPr>
          <p:nvPr/>
        </p:nvSpPr>
        <p:spPr>
          <a:xfrm>
            <a:off x="251524" y="1052963"/>
            <a:ext cx="8640950" cy="36512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kumimoji="1" lang="ja-JP" altLang="en-US" sz="1800"/>
              <a:t>画面イメージ</a:t>
            </a:r>
            <a:endParaRPr kumimoji="1" lang="en-US" altLang="zh-TW"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28" name="スライド番号プレースホルダー 1">
            <a:extLst>
              <a:ext uri="{FF2B5EF4-FFF2-40B4-BE49-F238E27FC236}">
                <a16:creationId xmlns:a16="http://schemas.microsoft.com/office/drawing/2014/main" id="{B45C7C43-84BC-EB68-B34A-AAE39F6D8E9C}"/>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23</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91" name="正方形/長方形 90">
            <a:extLst>
              <a:ext uri="{FF2B5EF4-FFF2-40B4-BE49-F238E27FC236}">
                <a16:creationId xmlns:a16="http://schemas.microsoft.com/office/drawing/2014/main" id="{6CE6E245-6D90-A273-F2A0-D60BE5CDAECB}"/>
              </a:ext>
            </a:extLst>
          </p:cNvPr>
          <p:cNvSpPr/>
          <p:nvPr/>
        </p:nvSpPr>
        <p:spPr>
          <a:xfrm>
            <a:off x="255605" y="1418087"/>
            <a:ext cx="8665427" cy="25841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FFFFFF"/>
                </a:solidFill>
                <a:effectLst/>
                <a:uLnTx/>
                <a:uFillTx/>
                <a:latin typeface="Arial"/>
                <a:ea typeface="游ゴシック Medium"/>
                <a:cs typeface="+mn-cs"/>
              </a:rPr>
              <a:t>製品規格書イメージ</a:t>
            </a:r>
          </a:p>
        </p:txBody>
      </p:sp>
      <p:sp>
        <p:nvSpPr>
          <p:cNvPr id="92" name="正方形/長方形 91">
            <a:extLst>
              <a:ext uri="{FF2B5EF4-FFF2-40B4-BE49-F238E27FC236}">
                <a16:creationId xmlns:a16="http://schemas.microsoft.com/office/drawing/2014/main" id="{FB29D3D2-993B-758A-AE64-338460FA6218}"/>
              </a:ext>
            </a:extLst>
          </p:cNvPr>
          <p:cNvSpPr/>
          <p:nvPr/>
        </p:nvSpPr>
        <p:spPr>
          <a:xfrm>
            <a:off x="7184454" y="1499045"/>
            <a:ext cx="1711088" cy="17346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700" b="0" i="0" u="none" strike="noStrike" kern="0" cap="none" spc="0" normalizeH="0" baseline="0" noProof="0">
                <a:ln>
                  <a:noFill/>
                </a:ln>
                <a:solidFill>
                  <a:srgbClr val="FFFFFF"/>
                </a:solidFill>
                <a:effectLst/>
                <a:uLnTx/>
                <a:uFillTx/>
                <a:latin typeface="Arial"/>
                <a:ea typeface="游ゴシック Medium"/>
                <a:cs typeface="+mn-cs"/>
              </a:rPr>
              <a:t>※</a:t>
            </a:r>
            <a:r>
              <a:rPr kumimoji="0" lang="ja-JP" altLang="en-US" sz="700" b="0" i="0" u="none" strike="noStrike" kern="0" cap="none" spc="0" normalizeH="0" baseline="0" noProof="0">
                <a:ln>
                  <a:noFill/>
                </a:ln>
                <a:solidFill>
                  <a:srgbClr val="FFFFFF"/>
                </a:solidFill>
                <a:effectLst/>
                <a:uLnTx/>
                <a:uFillTx/>
                <a:latin typeface="Arial"/>
                <a:ea typeface="游ゴシック Medium"/>
                <a:cs typeface="+mn-cs"/>
              </a:rPr>
              <a:t>現行システムの参考画面です</a:t>
            </a:r>
            <a:endParaRPr kumimoji="0" lang="ja-JP" altLang="en-US" sz="1100" b="0" i="0" u="none" strike="noStrike" kern="0" cap="none" spc="0" normalizeH="0" baseline="0" noProof="0">
              <a:ln>
                <a:noFill/>
              </a:ln>
              <a:solidFill>
                <a:srgbClr val="FFFFFF"/>
              </a:solidFill>
              <a:effectLst/>
              <a:uLnTx/>
              <a:uFillTx/>
              <a:latin typeface="Arial"/>
              <a:ea typeface="游ゴシック Medium"/>
              <a:cs typeface="+mn-cs"/>
            </a:endParaRPr>
          </a:p>
        </p:txBody>
      </p:sp>
      <p:sp>
        <p:nvSpPr>
          <p:cNvPr id="30" name="正方形/長方形 29">
            <a:extLst>
              <a:ext uri="{FF2B5EF4-FFF2-40B4-BE49-F238E27FC236}">
                <a16:creationId xmlns:a16="http://schemas.microsoft.com/office/drawing/2014/main" id="{3448C59E-558C-342D-EA1A-7AE67789B08F}"/>
              </a:ext>
            </a:extLst>
          </p:cNvPr>
          <p:cNvSpPr/>
          <p:nvPr/>
        </p:nvSpPr>
        <p:spPr>
          <a:xfrm>
            <a:off x="7632510" y="1717637"/>
            <a:ext cx="1346426" cy="1805275"/>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0" i="0" u="sng" strike="noStrike" kern="0" cap="none" spc="0" normalizeH="0" baseline="0" noProof="0">
                <a:ln>
                  <a:noFill/>
                </a:ln>
                <a:solidFill>
                  <a:srgbClr val="000000"/>
                </a:solidFill>
                <a:effectLst/>
                <a:uLnTx/>
                <a:uFillTx/>
                <a:latin typeface="Yu Gothic UI"/>
                <a:ea typeface="Yu Gothic UI"/>
                <a:cs typeface="+mn-cs"/>
              </a:rPr>
              <a:t>ワークフローの設定をする項目</a:t>
            </a:r>
            <a:endParaRPr kumimoji="0" lang="en-US" altLang="ja-JP" sz="1200" b="0" i="0" u="sng" strike="noStrike" kern="0" cap="none" spc="0" normalizeH="0" baseline="0" noProof="0">
              <a:ln>
                <a:noFill/>
              </a:ln>
              <a:solidFill>
                <a:srgbClr val="000000"/>
              </a:solidFill>
              <a:effectLst/>
              <a:uLnTx/>
              <a:uFillTx/>
              <a:latin typeface="Yu Gothic UI"/>
              <a:ea typeface="Yu Gothic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050" b="0" i="0" u="sng" strike="noStrike" kern="0" cap="none" spc="0" normalizeH="0" baseline="0" noProof="0">
              <a:ln>
                <a:noFill/>
              </a:ln>
              <a:solidFill>
                <a:srgbClr val="000000"/>
              </a:solidFill>
              <a:effectLst/>
              <a:uLnTx/>
              <a:uFillTx/>
              <a:latin typeface="Yu Gothic UI"/>
              <a:ea typeface="Yu Gothic UI"/>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050" b="0" i="0" u="none" strike="noStrike" kern="0" cap="none" spc="0" normalizeH="0" baseline="0" noProof="0">
                <a:ln>
                  <a:noFill/>
                </a:ln>
                <a:solidFill>
                  <a:srgbClr val="000000"/>
                </a:solidFill>
                <a:effectLst/>
                <a:uLnTx/>
                <a:uFillTx/>
                <a:latin typeface="Yu Gothic UI"/>
                <a:ea typeface="Yu Gothic UI"/>
                <a:cs typeface="+mn-cs"/>
              </a:rPr>
              <a:t>マスタ情報からルート選択する機能</a:t>
            </a:r>
            <a:endParaRPr kumimoji="0" lang="en-US" altLang="ja-JP" sz="1050" b="0" i="0" u="none" strike="noStrike" kern="0" cap="none" spc="0" normalizeH="0" baseline="0" noProof="0">
              <a:ln>
                <a:noFill/>
              </a:ln>
              <a:solidFill>
                <a:srgbClr val="000000"/>
              </a:solidFill>
              <a:effectLst/>
              <a:uLnTx/>
              <a:uFillTx/>
              <a:latin typeface="Yu Gothic UI"/>
              <a:ea typeface="Yu Gothic UI"/>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050" b="0" i="0" u="none" strike="noStrike" kern="0" cap="none" spc="0" normalizeH="0" baseline="0" noProof="0">
                <a:ln>
                  <a:noFill/>
                </a:ln>
                <a:solidFill>
                  <a:srgbClr val="000000"/>
                </a:solidFill>
                <a:effectLst/>
                <a:uLnTx/>
                <a:uFillTx/>
                <a:latin typeface="Yu Gothic UI"/>
                <a:ea typeface="Yu Gothic UI"/>
                <a:cs typeface="+mn-cs"/>
              </a:rPr>
              <a:t>担当者を選択する機能</a:t>
            </a:r>
            <a:endParaRPr kumimoji="0" lang="en-US" altLang="ja-JP" sz="1050" b="0" i="0" u="none" strike="noStrike" kern="0" cap="none" spc="0" normalizeH="0" baseline="0" noProof="0">
              <a:ln>
                <a:noFill/>
              </a:ln>
              <a:solidFill>
                <a:srgbClr val="000000"/>
              </a:solidFill>
              <a:effectLst/>
              <a:uLnTx/>
              <a:uFillTx/>
              <a:latin typeface="Yu Gothic UI"/>
              <a:ea typeface="Yu Gothic UI"/>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050" b="0" i="0" u="none" strike="noStrike" kern="0" cap="none" spc="0" normalizeH="0" baseline="0" noProof="0">
                <a:ln>
                  <a:noFill/>
                </a:ln>
                <a:solidFill>
                  <a:srgbClr val="000000"/>
                </a:solidFill>
                <a:effectLst/>
                <a:uLnTx/>
                <a:uFillTx/>
                <a:latin typeface="Yu Gothic UI"/>
                <a:ea typeface="Yu Gothic UI"/>
                <a:cs typeface="+mn-cs"/>
              </a:rPr>
              <a:t>登録した宛先に通知する機能</a:t>
            </a:r>
            <a:endParaRPr kumimoji="0" lang="en-US" altLang="ja-JP" sz="1050" b="0" i="0" u="none" strike="noStrike" kern="0" cap="none" spc="0" normalizeH="0" baseline="0" noProof="0">
              <a:ln>
                <a:noFill/>
              </a:ln>
              <a:solidFill>
                <a:srgbClr val="000000"/>
              </a:solidFill>
              <a:effectLst/>
              <a:uLnTx/>
              <a:uFillTx/>
              <a:latin typeface="Yu Gothic UI"/>
              <a:ea typeface="Yu Gothic UI"/>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200" b="0" i="0" u="none" strike="noStrike" kern="0" cap="none" spc="0" normalizeH="0" baseline="0" noProof="0">
              <a:ln>
                <a:noFill/>
              </a:ln>
              <a:solidFill>
                <a:srgbClr val="000000"/>
              </a:solidFill>
              <a:effectLst/>
              <a:uLnTx/>
              <a:uFillTx/>
              <a:latin typeface="+mn-ea"/>
              <a:cs typeface="+mn-cs"/>
            </a:endParaRPr>
          </a:p>
        </p:txBody>
      </p:sp>
      <p:sp>
        <p:nvSpPr>
          <p:cNvPr id="35" name="吹き出し: 線 (枠付き、強調線付き) 34">
            <a:extLst>
              <a:ext uri="{FF2B5EF4-FFF2-40B4-BE49-F238E27FC236}">
                <a16:creationId xmlns:a16="http://schemas.microsoft.com/office/drawing/2014/main" id="{56473014-D166-E9CA-FC1F-46A765F381A0}"/>
              </a:ext>
            </a:extLst>
          </p:cNvPr>
          <p:cNvSpPr/>
          <p:nvPr/>
        </p:nvSpPr>
        <p:spPr>
          <a:xfrm>
            <a:off x="250482" y="1873085"/>
            <a:ext cx="2582036" cy="1082411"/>
          </a:xfrm>
          <a:prstGeom prst="accentBorderCallout1">
            <a:avLst>
              <a:gd name="adj1" fmla="val 5342"/>
              <a:gd name="adj2" fmla="val 104338"/>
              <a:gd name="adj3" fmla="val 5477"/>
              <a:gd name="adj4" fmla="val 113164"/>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grpSp>
        <p:nvGrpSpPr>
          <p:cNvPr id="43" name="グループ化 42">
            <a:extLst>
              <a:ext uri="{FF2B5EF4-FFF2-40B4-BE49-F238E27FC236}">
                <a16:creationId xmlns:a16="http://schemas.microsoft.com/office/drawing/2014/main" id="{01C20F29-2C08-8806-F1ED-A6637D44ABE3}"/>
              </a:ext>
            </a:extLst>
          </p:cNvPr>
          <p:cNvGrpSpPr/>
          <p:nvPr/>
        </p:nvGrpSpPr>
        <p:grpSpPr>
          <a:xfrm>
            <a:off x="4444105" y="4971469"/>
            <a:ext cx="2754518" cy="1621162"/>
            <a:chOff x="3135405" y="3657648"/>
            <a:chExt cx="7259064" cy="4093131"/>
          </a:xfrm>
        </p:grpSpPr>
        <p:pic>
          <p:nvPicPr>
            <p:cNvPr id="41" name="図 40">
              <a:extLst>
                <a:ext uri="{FF2B5EF4-FFF2-40B4-BE49-F238E27FC236}">
                  <a16:creationId xmlns:a16="http://schemas.microsoft.com/office/drawing/2014/main" id="{478A04E9-4BF2-F6FC-C1EE-C3DF6E283A9B}"/>
                </a:ext>
              </a:extLst>
            </p:cNvPr>
            <p:cNvPicPr>
              <a:picLocks noChangeAspect="1"/>
            </p:cNvPicPr>
            <p:nvPr/>
          </p:nvPicPr>
          <p:blipFill>
            <a:blip r:embed="rId6"/>
            <a:stretch>
              <a:fillRect/>
            </a:stretch>
          </p:blipFill>
          <p:spPr>
            <a:xfrm>
              <a:off x="3135405" y="3657648"/>
              <a:ext cx="7259063" cy="1714739"/>
            </a:xfrm>
            <a:prstGeom prst="rect">
              <a:avLst/>
            </a:prstGeom>
          </p:spPr>
        </p:pic>
        <p:pic>
          <p:nvPicPr>
            <p:cNvPr id="42" name="図 41">
              <a:extLst>
                <a:ext uri="{FF2B5EF4-FFF2-40B4-BE49-F238E27FC236}">
                  <a16:creationId xmlns:a16="http://schemas.microsoft.com/office/drawing/2014/main" id="{22BA5C1D-5E48-44BD-FC49-4A753255DB8A}"/>
                </a:ext>
              </a:extLst>
            </p:cNvPr>
            <p:cNvPicPr>
              <a:picLocks noChangeAspect="1"/>
            </p:cNvPicPr>
            <p:nvPr/>
          </p:nvPicPr>
          <p:blipFill>
            <a:blip r:embed="rId7"/>
            <a:stretch>
              <a:fillRect/>
            </a:stretch>
          </p:blipFill>
          <p:spPr>
            <a:xfrm>
              <a:off x="3135406" y="5445407"/>
              <a:ext cx="7259063" cy="2305372"/>
            </a:xfrm>
            <a:prstGeom prst="rect">
              <a:avLst/>
            </a:prstGeom>
          </p:spPr>
        </p:pic>
      </p:grpSp>
      <p:sp>
        <p:nvSpPr>
          <p:cNvPr id="44" name="吹き出し: 線 (枠付き、強調線付き) 43">
            <a:extLst>
              <a:ext uri="{FF2B5EF4-FFF2-40B4-BE49-F238E27FC236}">
                <a16:creationId xmlns:a16="http://schemas.microsoft.com/office/drawing/2014/main" id="{0362D60C-DFD7-DF1F-AC72-237853166EE4}"/>
              </a:ext>
            </a:extLst>
          </p:cNvPr>
          <p:cNvSpPr/>
          <p:nvPr/>
        </p:nvSpPr>
        <p:spPr>
          <a:xfrm>
            <a:off x="4444105" y="4980709"/>
            <a:ext cx="2796996" cy="1611921"/>
          </a:xfrm>
          <a:prstGeom prst="accentBorderCallout1">
            <a:avLst>
              <a:gd name="adj1" fmla="val 5862"/>
              <a:gd name="adj2" fmla="val 104338"/>
              <a:gd name="adj3" fmla="val 5781"/>
              <a:gd name="adj4" fmla="val 116099"/>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45" name="正方形/長方形 44">
            <a:extLst>
              <a:ext uri="{FF2B5EF4-FFF2-40B4-BE49-F238E27FC236}">
                <a16:creationId xmlns:a16="http://schemas.microsoft.com/office/drawing/2014/main" id="{5ED54640-6990-916B-D432-8CB228DC646D}"/>
              </a:ext>
            </a:extLst>
          </p:cNvPr>
          <p:cNvSpPr/>
          <p:nvPr/>
        </p:nvSpPr>
        <p:spPr>
          <a:xfrm>
            <a:off x="7632510" y="4959729"/>
            <a:ext cx="1346426" cy="1284086"/>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sng" strike="noStrike" kern="0" cap="none" spc="0" normalizeH="0" baseline="0" noProof="0">
                <a:ln>
                  <a:noFill/>
                </a:ln>
                <a:solidFill>
                  <a:srgbClr val="000000"/>
                </a:solidFill>
                <a:effectLst/>
                <a:uLnTx/>
                <a:uFillTx/>
                <a:latin typeface="+mn-ea"/>
                <a:cs typeface="+mn-cs"/>
              </a:rPr>
              <a:t>文書情報を保持する項目</a:t>
            </a:r>
            <a:br>
              <a:rPr kumimoji="0" lang="en-US" altLang="ja-JP" sz="1200" b="0" i="0" u="sng" strike="noStrike" kern="0" cap="none" spc="0" normalizeH="0" baseline="0" noProof="0">
                <a:ln>
                  <a:noFill/>
                </a:ln>
                <a:solidFill>
                  <a:srgbClr val="000000"/>
                </a:solidFill>
                <a:effectLst/>
                <a:uLnTx/>
                <a:uFillTx/>
                <a:latin typeface="+mn-ea"/>
                <a:cs typeface="+mn-cs"/>
              </a:rPr>
            </a:br>
            <a:endParaRPr kumimoji="0" lang="en-US" altLang="ja-JP" sz="120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050" kern="0">
                <a:solidFill>
                  <a:srgbClr val="000000"/>
                </a:solidFill>
                <a:latin typeface="+mn-ea"/>
              </a:rPr>
              <a:t>履歴や開示情報を保持する機能</a:t>
            </a: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200" b="0" i="0" u="none" strike="noStrike" kern="0" cap="none" spc="0" normalizeH="0" baseline="0" noProof="0">
              <a:ln>
                <a:noFill/>
              </a:ln>
              <a:solidFill>
                <a:srgbClr val="000000"/>
              </a:solidFill>
              <a:effectLst/>
              <a:uLnTx/>
              <a:uFillTx/>
              <a:latin typeface="+mn-ea"/>
              <a:cs typeface="+mn-cs"/>
            </a:endParaRPr>
          </a:p>
        </p:txBody>
      </p:sp>
      <p:sp>
        <p:nvSpPr>
          <p:cNvPr id="5" name="正方形/長方形 4">
            <a:extLst>
              <a:ext uri="{FF2B5EF4-FFF2-40B4-BE49-F238E27FC236}">
                <a16:creationId xmlns:a16="http://schemas.microsoft.com/office/drawing/2014/main" id="{B5E43FDB-EF85-840B-BF38-6398A2BF0162}"/>
              </a:ext>
            </a:extLst>
          </p:cNvPr>
          <p:cNvSpPr/>
          <p:nvPr/>
        </p:nvSpPr>
        <p:spPr>
          <a:xfrm>
            <a:off x="3107169" y="1758188"/>
            <a:ext cx="1221633" cy="1066717"/>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sng" strike="noStrike" kern="0" cap="none" spc="0" normalizeH="0" baseline="0" noProof="0">
                <a:ln>
                  <a:noFill/>
                </a:ln>
                <a:solidFill>
                  <a:srgbClr val="000000"/>
                </a:solidFill>
                <a:effectLst/>
                <a:uLnTx/>
                <a:uFillTx/>
                <a:latin typeface="+mn-ea"/>
                <a:cs typeface="+mn-cs"/>
              </a:rPr>
              <a:t>文書タイトルを入力する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05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050" kern="0">
                <a:solidFill>
                  <a:srgbClr val="000000"/>
                </a:solidFill>
                <a:latin typeface="+mn-ea"/>
              </a:rPr>
              <a:t>タイトル、項番、文書ステータスを保持する機能</a:t>
            </a: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050" b="0" i="0" u="none" strike="noStrike" kern="0" cap="none" spc="0" normalizeH="0" baseline="0" noProof="0">
              <a:ln>
                <a:noFill/>
              </a:ln>
              <a:solidFill>
                <a:srgbClr val="000000"/>
              </a:solidFill>
              <a:effectLst/>
              <a:uLnTx/>
              <a:uFillTx/>
              <a:latin typeface="+mn-ea"/>
              <a:cs typeface="+mn-cs"/>
            </a:endParaRPr>
          </a:p>
        </p:txBody>
      </p:sp>
      <p:sp>
        <p:nvSpPr>
          <p:cNvPr id="9" name="吹き出し: 線 (枠付き、強調線付き) 8">
            <a:extLst>
              <a:ext uri="{FF2B5EF4-FFF2-40B4-BE49-F238E27FC236}">
                <a16:creationId xmlns:a16="http://schemas.microsoft.com/office/drawing/2014/main" id="{0CDA77C4-D9E1-197F-EF98-4143C0FCB5B1}"/>
              </a:ext>
            </a:extLst>
          </p:cNvPr>
          <p:cNvSpPr/>
          <p:nvPr/>
        </p:nvSpPr>
        <p:spPr>
          <a:xfrm>
            <a:off x="250482" y="2955496"/>
            <a:ext cx="2582036" cy="821229"/>
          </a:xfrm>
          <a:prstGeom prst="accentBorderCallout1">
            <a:avLst>
              <a:gd name="adj1" fmla="val 12765"/>
              <a:gd name="adj2" fmla="val 104338"/>
              <a:gd name="adj3" fmla="val 12900"/>
              <a:gd name="adj4" fmla="val 110508"/>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10" name="正方形/長方形 9">
            <a:extLst>
              <a:ext uri="{FF2B5EF4-FFF2-40B4-BE49-F238E27FC236}">
                <a16:creationId xmlns:a16="http://schemas.microsoft.com/office/drawing/2014/main" id="{DFF3AF2C-DE02-6DE2-C162-00162E1D821F}"/>
              </a:ext>
            </a:extLst>
          </p:cNvPr>
          <p:cNvSpPr/>
          <p:nvPr/>
        </p:nvSpPr>
        <p:spPr>
          <a:xfrm>
            <a:off x="3107169" y="2939036"/>
            <a:ext cx="1221633" cy="1066717"/>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u="sng" kern="0">
                <a:solidFill>
                  <a:srgbClr val="000000"/>
                </a:solidFill>
                <a:latin typeface="+mn-ea"/>
              </a:rPr>
              <a:t>廃版情報を管理する</a:t>
            </a:r>
            <a:r>
              <a:rPr kumimoji="0" lang="ja-JP" altLang="en-US" sz="1200" b="0" i="0" u="sng" strike="noStrike" kern="0" cap="none" spc="0" normalizeH="0" baseline="0" noProof="0">
                <a:ln>
                  <a:noFill/>
                </a:ln>
                <a:solidFill>
                  <a:srgbClr val="000000"/>
                </a:solidFill>
                <a:effectLst/>
                <a:uLnTx/>
                <a:uFillTx/>
                <a:latin typeface="+mn-ea"/>
                <a:cs typeface="+mn-cs"/>
              </a:rPr>
              <a:t>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05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050" kern="0">
                <a:solidFill>
                  <a:srgbClr val="000000"/>
                </a:solidFill>
                <a:latin typeface="+mn-ea"/>
              </a:rPr>
              <a:t>製品規格の廃版情報を管理する機能</a:t>
            </a: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050" b="0" i="0" u="none" strike="noStrike" kern="0" cap="none" spc="0" normalizeH="0" baseline="0" noProof="0">
              <a:ln>
                <a:noFill/>
              </a:ln>
              <a:solidFill>
                <a:srgbClr val="000000"/>
              </a:solidFill>
              <a:effectLst/>
              <a:uLnTx/>
              <a:uFillTx/>
              <a:latin typeface="+mn-ea"/>
              <a:cs typeface="+mn-cs"/>
            </a:endParaRPr>
          </a:p>
        </p:txBody>
      </p:sp>
      <p:pic>
        <p:nvPicPr>
          <p:cNvPr id="11" name="図 10">
            <a:extLst>
              <a:ext uri="{FF2B5EF4-FFF2-40B4-BE49-F238E27FC236}">
                <a16:creationId xmlns:a16="http://schemas.microsoft.com/office/drawing/2014/main" id="{4A48F0E7-FB64-6AF5-A248-A232A236CE33}"/>
              </a:ext>
            </a:extLst>
          </p:cNvPr>
          <p:cNvPicPr>
            <a:picLocks noChangeAspect="1"/>
          </p:cNvPicPr>
          <p:nvPr/>
        </p:nvPicPr>
        <p:blipFill>
          <a:blip r:embed="rId8"/>
          <a:stretch>
            <a:fillRect/>
          </a:stretch>
        </p:blipFill>
        <p:spPr>
          <a:xfrm>
            <a:off x="297633" y="3973305"/>
            <a:ext cx="2534885" cy="2144084"/>
          </a:xfrm>
          <a:prstGeom prst="rect">
            <a:avLst/>
          </a:prstGeom>
        </p:spPr>
      </p:pic>
      <p:sp>
        <p:nvSpPr>
          <p:cNvPr id="13" name="吹き出し: 線 (枠付き、強調線付き) 12">
            <a:extLst>
              <a:ext uri="{FF2B5EF4-FFF2-40B4-BE49-F238E27FC236}">
                <a16:creationId xmlns:a16="http://schemas.microsoft.com/office/drawing/2014/main" id="{92A470B8-4662-8C82-85CE-4C4BF367971F}"/>
              </a:ext>
            </a:extLst>
          </p:cNvPr>
          <p:cNvSpPr/>
          <p:nvPr/>
        </p:nvSpPr>
        <p:spPr>
          <a:xfrm>
            <a:off x="250482" y="3965685"/>
            <a:ext cx="2582036" cy="2206515"/>
          </a:xfrm>
          <a:prstGeom prst="accentBorderCallout1">
            <a:avLst>
              <a:gd name="adj1" fmla="val 12765"/>
              <a:gd name="adj2" fmla="val 104338"/>
              <a:gd name="adj3" fmla="val 12900"/>
              <a:gd name="adj4" fmla="val 110508"/>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14" name="正方形/長方形 13">
            <a:extLst>
              <a:ext uri="{FF2B5EF4-FFF2-40B4-BE49-F238E27FC236}">
                <a16:creationId xmlns:a16="http://schemas.microsoft.com/office/drawing/2014/main" id="{42CD6000-418F-9DDE-B60E-DEEC3FFF5B57}"/>
              </a:ext>
            </a:extLst>
          </p:cNvPr>
          <p:cNvSpPr/>
          <p:nvPr/>
        </p:nvSpPr>
        <p:spPr>
          <a:xfrm>
            <a:off x="3107169" y="4108787"/>
            <a:ext cx="1221633" cy="1796713"/>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sng" strike="noStrike" kern="0" cap="none" spc="0" normalizeH="0" baseline="0" noProof="0">
                <a:ln>
                  <a:noFill/>
                </a:ln>
                <a:solidFill>
                  <a:srgbClr val="000000"/>
                </a:solidFill>
                <a:effectLst/>
                <a:uLnTx/>
                <a:uFillTx/>
                <a:latin typeface="+mn-ea"/>
                <a:cs typeface="+mn-cs"/>
              </a:rPr>
              <a:t>製品規格の情報を入力する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050" b="0" i="0" u="sng" strike="noStrike" kern="0" cap="none" spc="0" normalizeH="0" baseline="0" noProof="0">
              <a:ln>
                <a:noFill/>
              </a:ln>
              <a:solidFill>
                <a:srgbClr val="000000"/>
              </a:solidFill>
              <a:effectLst/>
              <a:uLnTx/>
              <a:uFillTx/>
              <a:latin typeface="+mn-ea"/>
              <a:cs typeface="+mn-cs"/>
            </a:endParaRPr>
          </a:p>
          <a:p>
            <a:pPr marL="171450" indent="-171450">
              <a:buFont typeface="Arial" panose="020B0604020202020204" pitchFamily="34" charset="0"/>
              <a:buChar char="•"/>
            </a:pPr>
            <a:r>
              <a:rPr kumimoji="0" lang="ja-JP" altLang="en-US" sz="1050" b="0" i="0" u="none" strike="noStrike" kern="0" cap="none" spc="0" normalizeH="0" baseline="0" noProof="0">
                <a:ln>
                  <a:noFill/>
                </a:ln>
                <a:solidFill>
                  <a:srgbClr val="000000"/>
                </a:solidFill>
                <a:effectLst/>
                <a:uLnTx/>
                <a:uFillTx/>
                <a:latin typeface="+mn-ea"/>
                <a:cs typeface="+mn-cs"/>
              </a:rPr>
              <a:t>品名や承認ルートをマスタ情報から入力する機能</a:t>
            </a: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050" b="0" i="0" u="none" strike="noStrike" kern="0" cap="none" spc="0" normalizeH="0" baseline="0" noProof="0">
              <a:ln>
                <a:noFill/>
              </a:ln>
              <a:solidFill>
                <a:srgbClr val="000000"/>
              </a:solidFill>
              <a:effectLst/>
              <a:uLnTx/>
              <a:uFillTx/>
              <a:latin typeface="+mn-ea"/>
              <a:cs typeface="+mn-cs"/>
            </a:endParaRPr>
          </a:p>
        </p:txBody>
      </p:sp>
      <p:pic>
        <p:nvPicPr>
          <p:cNvPr id="15" name="図 14">
            <a:extLst>
              <a:ext uri="{FF2B5EF4-FFF2-40B4-BE49-F238E27FC236}">
                <a16:creationId xmlns:a16="http://schemas.microsoft.com/office/drawing/2014/main" id="{026AE101-D73D-B4AD-DABF-CC27D200D6BE}"/>
              </a:ext>
            </a:extLst>
          </p:cNvPr>
          <p:cNvPicPr>
            <a:picLocks noChangeAspect="1"/>
          </p:cNvPicPr>
          <p:nvPr/>
        </p:nvPicPr>
        <p:blipFill>
          <a:blip r:embed="rId9"/>
          <a:stretch>
            <a:fillRect/>
          </a:stretch>
        </p:blipFill>
        <p:spPr>
          <a:xfrm>
            <a:off x="4465344" y="4193049"/>
            <a:ext cx="2754518" cy="728232"/>
          </a:xfrm>
          <a:prstGeom prst="rect">
            <a:avLst/>
          </a:prstGeom>
        </p:spPr>
      </p:pic>
      <p:pic>
        <p:nvPicPr>
          <p:cNvPr id="16" name="図 15">
            <a:extLst>
              <a:ext uri="{FF2B5EF4-FFF2-40B4-BE49-F238E27FC236}">
                <a16:creationId xmlns:a16="http://schemas.microsoft.com/office/drawing/2014/main" id="{7EC0E4C6-0881-1C6A-BAF1-93B6E5E7F269}"/>
              </a:ext>
            </a:extLst>
          </p:cNvPr>
          <p:cNvPicPr>
            <a:picLocks noChangeAspect="1"/>
          </p:cNvPicPr>
          <p:nvPr/>
        </p:nvPicPr>
        <p:blipFill>
          <a:blip r:embed="rId10"/>
          <a:stretch>
            <a:fillRect/>
          </a:stretch>
        </p:blipFill>
        <p:spPr>
          <a:xfrm>
            <a:off x="4483971" y="1886531"/>
            <a:ext cx="2702355" cy="2256331"/>
          </a:xfrm>
          <a:prstGeom prst="rect">
            <a:avLst/>
          </a:prstGeom>
        </p:spPr>
      </p:pic>
      <p:sp>
        <p:nvSpPr>
          <p:cNvPr id="19" name="吹き出し: 線 (枠付き、強調線付き) 18">
            <a:extLst>
              <a:ext uri="{FF2B5EF4-FFF2-40B4-BE49-F238E27FC236}">
                <a16:creationId xmlns:a16="http://schemas.microsoft.com/office/drawing/2014/main" id="{21E25946-3689-FD87-8E77-0D0DED689D0F}"/>
              </a:ext>
            </a:extLst>
          </p:cNvPr>
          <p:cNvSpPr/>
          <p:nvPr/>
        </p:nvSpPr>
        <p:spPr>
          <a:xfrm>
            <a:off x="4444105" y="4174748"/>
            <a:ext cx="2796996" cy="746534"/>
          </a:xfrm>
          <a:prstGeom prst="accentBorderCallout1">
            <a:avLst>
              <a:gd name="adj1" fmla="val 5862"/>
              <a:gd name="adj2" fmla="val 104338"/>
              <a:gd name="adj3" fmla="val 5781"/>
              <a:gd name="adj4" fmla="val 116099"/>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20" name="吹き出し: 線 (枠付き、強調線付き) 19">
            <a:extLst>
              <a:ext uri="{FF2B5EF4-FFF2-40B4-BE49-F238E27FC236}">
                <a16:creationId xmlns:a16="http://schemas.microsoft.com/office/drawing/2014/main" id="{F04F1677-000E-D503-8525-EC7CBAC5F428}"/>
              </a:ext>
            </a:extLst>
          </p:cNvPr>
          <p:cNvSpPr/>
          <p:nvPr/>
        </p:nvSpPr>
        <p:spPr>
          <a:xfrm>
            <a:off x="4444105" y="1860828"/>
            <a:ext cx="2796996" cy="2247959"/>
          </a:xfrm>
          <a:prstGeom prst="accentBorderCallout1">
            <a:avLst>
              <a:gd name="adj1" fmla="val 5862"/>
              <a:gd name="adj2" fmla="val 104338"/>
              <a:gd name="adj3" fmla="val 5781"/>
              <a:gd name="adj4" fmla="val 116099"/>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21" name="正方形/長方形 20">
            <a:extLst>
              <a:ext uri="{FF2B5EF4-FFF2-40B4-BE49-F238E27FC236}">
                <a16:creationId xmlns:a16="http://schemas.microsoft.com/office/drawing/2014/main" id="{8D9819E0-28E5-F364-2CCE-4662A192DCF3}"/>
              </a:ext>
            </a:extLst>
          </p:cNvPr>
          <p:cNvSpPr/>
          <p:nvPr/>
        </p:nvSpPr>
        <p:spPr>
          <a:xfrm>
            <a:off x="7632510" y="4014980"/>
            <a:ext cx="1346426" cy="906301"/>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sng" strike="noStrike" kern="0" cap="none" spc="0" normalizeH="0" baseline="0" noProof="0">
                <a:ln>
                  <a:noFill/>
                </a:ln>
                <a:solidFill>
                  <a:srgbClr val="000000"/>
                </a:solidFill>
                <a:effectLst/>
                <a:uLnTx/>
                <a:uFillTx/>
                <a:latin typeface="+mn-ea"/>
                <a:cs typeface="+mn-cs"/>
              </a:rPr>
              <a:t>配付情報を設定する項目</a:t>
            </a:r>
            <a:br>
              <a:rPr kumimoji="0" lang="en-US" altLang="ja-JP" sz="1200" b="0" i="0" u="sng" strike="noStrike" kern="0" cap="none" spc="0" normalizeH="0" baseline="0" noProof="0">
                <a:ln>
                  <a:noFill/>
                </a:ln>
                <a:solidFill>
                  <a:srgbClr val="000000"/>
                </a:solidFill>
                <a:effectLst/>
                <a:uLnTx/>
                <a:uFillTx/>
                <a:latin typeface="+mn-ea"/>
                <a:cs typeface="+mn-cs"/>
              </a:rPr>
            </a:br>
            <a:endParaRPr kumimoji="0" lang="en-US" altLang="ja-JP" sz="120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050" kern="0">
                <a:solidFill>
                  <a:srgbClr val="000000"/>
                </a:solidFill>
                <a:latin typeface="+mn-ea"/>
              </a:rPr>
              <a:t>配付情報を管理する機能</a:t>
            </a: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200" b="0" i="0" u="none" strike="noStrike" kern="0" cap="none" spc="0" normalizeH="0" baseline="0" noProof="0">
              <a:ln>
                <a:noFill/>
              </a:ln>
              <a:solidFill>
                <a:srgbClr val="000000"/>
              </a:solidFill>
              <a:effectLst/>
              <a:uLnTx/>
              <a:uFillTx/>
              <a:latin typeface="+mn-ea"/>
              <a:cs typeface="+mn-cs"/>
            </a:endParaRPr>
          </a:p>
        </p:txBody>
      </p:sp>
    </p:spTree>
    <p:extLst>
      <p:ext uri="{BB962C8B-B14F-4D97-AF65-F5344CB8AC3E}">
        <p14:creationId xmlns:p14="http://schemas.microsoft.com/office/powerpoint/2010/main" val="21383149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84D1DA-97ED-2719-33EF-A13650BDF7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2A84D1DA-97ED-2719-33EF-A13650BDF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C0CD4ED1-0F74-83B6-F4AC-8C87103B97BF}"/>
              </a:ext>
            </a:extLst>
          </p:cNvPr>
          <p:cNvSpPr>
            <a:spLocks noGrp="1"/>
          </p:cNvSpPr>
          <p:nvPr>
            <p:ph type="title"/>
          </p:nvPr>
        </p:nvSpPr>
        <p:spPr/>
        <p:txBody>
          <a:bodyPr vert="horz"/>
          <a:lstStyle/>
          <a:p>
            <a:r>
              <a:rPr lang="ja-JP" altLang="en-US"/>
              <a:t>２．機能要件</a:t>
            </a:r>
            <a:endParaRPr kumimoji="1" lang="ja-JP" altLang="en-US"/>
          </a:p>
        </p:txBody>
      </p:sp>
      <p:sp>
        <p:nvSpPr>
          <p:cNvPr id="3" name="テキスト プレースホルダー 4">
            <a:extLst>
              <a:ext uri="{FF2B5EF4-FFF2-40B4-BE49-F238E27FC236}">
                <a16:creationId xmlns:a16="http://schemas.microsoft.com/office/drawing/2014/main" id="{251B3422-0C83-F0E0-CEB5-1398EC9D9C0C}"/>
              </a:ext>
            </a:extLst>
          </p:cNvPr>
          <p:cNvSpPr txBox="1">
            <a:spLocks/>
          </p:cNvSpPr>
          <p:nvPr/>
        </p:nvSpPr>
        <p:spPr>
          <a:xfrm>
            <a:off x="251524" y="1052963"/>
            <a:ext cx="8640950" cy="36512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kumimoji="1" lang="ja-JP" altLang="en-US" sz="1800"/>
              <a:t>画面イメージ</a:t>
            </a:r>
            <a:endParaRPr kumimoji="1" lang="en-US" altLang="zh-TW"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28" name="スライド番号プレースホルダー 1">
            <a:extLst>
              <a:ext uri="{FF2B5EF4-FFF2-40B4-BE49-F238E27FC236}">
                <a16:creationId xmlns:a16="http://schemas.microsoft.com/office/drawing/2014/main" id="{B45C7C43-84BC-EB68-B34A-AAE39F6D8E9C}"/>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24</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91" name="正方形/長方形 90">
            <a:extLst>
              <a:ext uri="{FF2B5EF4-FFF2-40B4-BE49-F238E27FC236}">
                <a16:creationId xmlns:a16="http://schemas.microsoft.com/office/drawing/2014/main" id="{6CE6E245-6D90-A273-F2A0-D60BE5CDAECB}"/>
              </a:ext>
            </a:extLst>
          </p:cNvPr>
          <p:cNvSpPr/>
          <p:nvPr/>
        </p:nvSpPr>
        <p:spPr>
          <a:xfrm>
            <a:off x="255605" y="1418087"/>
            <a:ext cx="8665427" cy="25841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FFFFFF"/>
                </a:solidFill>
                <a:effectLst/>
                <a:uLnTx/>
                <a:uFillTx/>
                <a:latin typeface="Arial"/>
                <a:ea typeface="游ゴシック Medium"/>
                <a:cs typeface="+mn-cs"/>
              </a:rPr>
              <a:t>品質情報文書イメージ　　　　</a:t>
            </a:r>
          </a:p>
        </p:txBody>
      </p:sp>
      <p:sp>
        <p:nvSpPr>
          <p:cNvPr id="92" name="正方形/長方形 91">
            <a:extLst>
              <a:ext uri="{FF2B5EF4-FFF2-40B4-BE49-F238E27FC236}">
                <a16:creationId xmlns:a16="http://schemas.microsoft.com/office/drawing/2014/main" id="{FB29D3D2-993B-758A-AE64-338460FA6218}"/>
              </a:ext>
            </a:extLst>
          </p:cNvPr>
          <p:cNvSpPr/>
          <p:nvPr/>
        </p:nvSpPr>
        <p:spPr>
          <a:xfrm>
            <a:off x="7184454" y="1499045"/>
            <a:ext cx="1711088" cy="17346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700" b="0" i="0" u="none" strike="noStrike" kern="0" cap="none" spc="0" normalizeH="0" baseline="0" noProof="0">
                <a:ln>
                  <a:noFill/>
                </a:ln>
                <a:solidFill>
                  <a:srgbClr val="FFFFFF"/>
                </a:solidFill>
                <a:effectLst/>
                <a:uLnTx/>
                <a:uFillTx/>
                <a:latin typeface="Arial"/>
                <a:ea typeface="游ゴシック Medium"/>
                <a:cs typeface="+mn-cs"/>
              </a:rPr>
              <a:t>※</a:t>
            </a:r>
            <a:r>
              <a:rPr kumimoji="0" lang="ja-JP" altLang="en-US" sz="700" b="0" i="0" u="none" strike="noStrike" kern="0" cap="none" spc="0" normalizeH="0" baseline="0" noProof="0">
                <a:ln>
                  <a:noFill/>
                </a:ln>
                <a:solidFill>
                  <a:srgbClr val="FFFFFF"/>
                </a:solidFill>
                <a:effectLst/>
                <a:uLnTx/>
                <a:uFillTx/>
                <a:latin typeface="Arial"/>
                <a:ea typeface="游ゴシック Medium"/>
                <a:cs typeface="+mn-cs"/>
              </a:rPr>
              <a:t>現行システムの参考画面です</a:t>
            </a:r>
            <a:endParaRPr kumimoji="0" lang="ja-JP" altLang="en-US" sz="1100" b="0" i="0" u="none" strike="noStrike" kern="0" cap="none" spc="0" normalizeH="0" baseline="0" noProof="0">
              <a:ln>
                <a:noFill/>
              </a:ln>
              <a:solidFill>
                <a:srgbClr val="FFFFFF"/>
              </a:solidFill>
              <a:effectLst/>
              <a:uLnTx/>
              <a:uFillTx/>
              <a:latin typeface="Arial"/>
              <a:ea typeface="游ゴシック Medium"/>
              <a:cs typeface="+mn-cs"/>
            </a:endParaRPr>
          </a:p>
        </p:txBody>
      </p:sp>
      <p:sp>
        <p:nvSpPr>
          <p:cNvPr id="25" name="吹き出し: 線 (枠付き、強調線付き) 24">
            <a:extLst>
              <a:ext uri="{FF2B5EF4-FFF2-40B4-BE49-F238E27FC236}">
                <a16:creationId xmlns:a16="http://schemas.microsoft.com/office/drawing/2014/main" id="{0CD750F5-E3CB-4EA2-5BB2-32AFA06CD271}"/>
              </a:ext>
            </a:extLst>
          </p:cNvPr>
          <p:cNvSpPr/>
          <p:nvPr/>
        </p:nvSpPr>
        <p:spPr>
          <a:xfrm>
            <a:off x="1438275" y="2195974"/>
            <a:ext cx="3815107" cy="2970386"/>
          </a:xfrm>
          <a:prstGeom prst="accentBorderCallout1">
            <a:avLst>
              <a:gd name="adj1" fmla="val 5862"/>
              <a:gd name="adj2" fmla="val 104338"/>
              <a:gd name="adj3" fmla="val 5781"/>
              <a:gd name="adj4" fmla="val 116099"/>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30" name="正方形/長方形 29">
            <a:extLst>
              <a:ext uri="{FF2B5EF4-FFF2-40B4-BE49-F238E27FC236}">
                <a16:creationId xmlns:a16="http://schemas.microsoft.com/office/drawing/2014/main" id="{3448C59E-558C-342D-EA1A-7AE67789B08F}"/>
              </a:ext>
            </a:extLst>
          </p:cNvPr>
          <p:cNvSpPr/>
          <p:nvPr/>
        </p:nvSpPr>
        <p:spPr>
          <a:xfrm>
            <a:off x="5878996" y="2152795"/>
            <a:ext cx="1826729" cy="1948629"/>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sng" strike="noStrike" kern="0" cap="none" spc="0" normalizeH="0" baseline="0" noProof="0">
                <a:ln>
                  <a:noFill/>
                </a:ln>
                <a:solidFill>
                  <a:srgbClr val="000000"/>
                </a:solidFill>
                <a:effectLst/>
                <a:uLnTx/>
                <a:uFillTx/>
                <a:latin typeface="+mn-ea"/>
                <a:cs typeface="+mn-cs"/>
              </a:rPr>
              <a:t>品質情報を入力する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20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0" cap="none" spc="0" normalizeH="0" baseline="0" noProof="0">
                <a:ln>
                  <a:noFill/>
                </a:ln>
                <a:solidFill>
                  <a:srgbClr val="000000"/>
                </a:solidFill>
                <a:effectLst/>
                <a:uLnTx/>
                <a:uFillTx/>
                <a:latin typeface="+mn-ea"/>
                <a:cs typeface="+mn-cs"/>
              </a:rPr>
              <a:t>納入仕様書から引用される品質情報を管理する機能</a:t>
            </a:r>
            <a:endParaRPr kumimoji="0" lang="en-US" altLang="ja-JP" sz="11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200" b="0" i="0" u="none" strike="noStrike" kern="0" cap="none" spc="0" normalizeH="0" baseline="0" noProof="0">
              <a:ln>
                <a:noFill/>
              </a:ln>
              <a:solidFill>
                <a:srgbClr val="000000"/>
              </a:solidFill>
              <a:effectLst/>
              <a:uLnTx/>
              <a:uFillTx/>
              <a:latin typeface="+mn-ea"/>
              <a:cs typeface="+mn-cs"/>
            </a:endParaRPr>
          </a:p>
        </p:txBody>
      </p:sp>
      <p:pic>
        <p:nvPicPr>
          <p:cNvPr id="6" name="図 5">
            <a:extLst>
              <a:ext uri="{FF2B5EF4-FFF2-40B4-BE49-F238E27FC236}">
                <a16:creationId xmlns:a16="http://schemas.microsoft.com/office/drawing/2014/main" id="{06809E60-B9A4-F2EA-5D03-041DE26F8F83}"/>
              </a:ext>
            </a:extLst>
          </p:cNvPr>
          <p:cNvPicPr>
            <a:picLocks noChangeAspect="1"/>
          </p:cNvPicPr>
          <p:nvPr/>
        </p:nvPicPr>
        <p:blipFill>
          <a:blip r:embed="rId5"/>
          <a:stretch>
            <a:fillRect/>
          </a:stretch>
        </p:blipFill>
        <p:spPr>
          <a:xfrm>
            <a:off x="1602922" y="2304230"/>
            <a:ext cx="3485812" cy="2724736"/>
          </a:xfrm>
          <a:prstGeom prst="rect">
            <a:avLst/>
          </a:prstGeom>
        </p:spPr>
      </p:pic>
    </p:spTree>
    <p:extLst>
      <p:ext uri="{BB962C8B-B14F-4D97-AF65-F5344CB8AC3E}">
        <p14:creationId xmlns:p14="http://schemas.microsoft.com/office/powerpoint/2010/main" val="40080379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84D1DA-97ED-2719-33EF-A13650BDF7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2A84D1DA-97ED-2719-33EF-A13650BDF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C0CD4ED1-0F74-83B6-F4AC-8C87103B97BF}"/>
              </a:ext>
            </a:extLst>
          </p:cNvPr>
          <p:cNvSpPr>
            <a:spLocks noGrp="1"/>
          </p:cNvSpPr>
          <p:nvPr>
            <p:ph type="title"/>
          </p:nvPr>
        </p:nvSpPr>
        <p:spPr/>
        <p:txBody>
          <a:bodyPr vert="horz"/>
          <a:lstStyle/>
          <a:p>
            <a:r>
              <a:rPr lang="ja-JP" altLang="en-US"/>
              <a:t>２．機能要件</a:t>
            </a:r>
            <a:endParaRPr kumimoji="1" lang="ja-JP" altLang="en-US"/>
          </a:p>
        </p:txBody>
      </p:sp>
      <p:sp>
        <p:nvSpPr>
          <p:cNvPr id="3" name="テキスト プレースホルダー 4">
            <a:extLst>
              <a:ext uri="{FF2B5EF4-FFF2-40B4-BE49-F238E27FC236}">
                <a16:creationId xmlns:a16="http://schemas.microsoft.com/office/drawing/2014/main" id="{251B3422-0C83-F0E0-CEB5-1398EC9D9C0C}"/>
              </a:ext>
            </a:extLst>
          </p:cNvPr>
          <p:cNvSpPr txBox="1">
            <a:spLocks/>
          </p:cNvSpPr>
          <p:nvPr/>
        </p:nvSpPr>
        <p:spPr>
          <a:xfrm>
            <a:off x="251524" y="1052963"/>
            <a:ext cx="8640950" cy="36512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kumimoji="1" lang="ja-JP" altLang="en-US" sz="1800"/>
              <a:t>画面イメージ</a:t>
            </a:r>
            <a:endParaRPr kumimoji="1" lang="en-US" altLang="zh-TW"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28" name="スライド番号プレースホルダー 1">
            <a:extLst>
              <a:ext uri="{FF2B5EF4-FFF2-40B4-BE49-F238E27FC236}">
                <a16:creationId xmlns:a16="http://schemas.microsoft.com/office/drawing/2014/main" id="{B45C7C43-84BC-EB68-B34A-AAE39F6D8E9C}"/>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91" name="正方形/長方形 90">
            <a:extLst>
              <a:ext uri="{FF2B5EF4-FFF2-40B4-BE49-F238E27FC236}">
                <a16:creationId xmlns:a16="http://schemas.microsoft.com/office/drawing/2014/main" id="{6CE6E245-6D90-A273-F2A0-D60BE5CDAECB}"/>
              </a:ext>
            </a:extLst>
          </p:cNvPr>
          <p:cNvSpPr/>
          <p:nvPr/>
        </p:nvSpPr>
        <p:spPr>
          <a:xfrm>
            <a:off x="255605" y="1418087"/>
            <a:ext cx="8665427" cy="25841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FFFFFF"/>
                </a:solidFill>
                <a:effectLst/>
                <a:uLnTx/>
                <a:uFillTx/>
                <a:latin typeface="Arial"/>
                <a:ea typeface="游ゴシック Medium"/>
                <a:cs typeface="+mn-cs"/>
              </a:rPr>
              <a:t>アナウンス</a:t>
            </a:r>
            <a:r>
              <a:rPr kumimoji="0" lang="en-US" altLang="ja-JP" sz="1200" b="0" i="0" u="none" strike="noStrike" kern="0" cap="none" spc="0" normalizeH="0" baseline="0" noProof="0">
                <a:ln>
                  <a:noFill/>
                </a:ln>
                <a:solidFill>
                  <a:srgbClr val="FFFFFF"/>
                </a:solidFill>
                <a:effectLst/>
                <a:uLnTx/>
                <a:uFillTx/>
                <a:latin typeface="Arial"/>
                <a:ea typeface="游ゴシック Medium"/>
                <a:cs typeface="+mn-cs"/>
              </a:rPr>
              <a:t>/</a:t>
            </a:r>
            <a:r>
              <a:rPr kumimoji="0" lang="ja-JP" altLang="en-US" sz="1200" b="0" i="0" u="none" strike="noStrike" kern="0" cap="none" spc="0" normalizeH="0" baseline="0" noProof="0">
                <a:ln>
                  <a:noFill/>
                </a:ln>
                <a:solidFill>
                  <a:srgbClr val="FFFFFF"/>
                </a:solidFill>
                <a:effectLst/>
                <a:uLnTx/>
                <a:uFillTx/>
                <a:latin typeface="Arial"/>
                <a:ea typeface="游ゴシック Medium"/>
                <a:cs typeface="+mn-cs"/>
              </a:rPr>
              <a:t>お知らせイメージ　　　　</a:t>
            </a:r>
          </a:p>
        </p:txBody>
      </p:sp>
      <p:sp>
        <p:nvSpPr>
          <p:cNvPr id="92" name="正方形/長方形 91">
            <a:extLst>
              <a:ext uri="{FF2B5EF4-FFF2-40B4-BE49-F238E27FC236}">
                <a16:creationId xmlns:a16="http://schemas.microsoft.com/office/drawing/2014/main" id="{FB29D3D2-993B-758A-AE64-338460FA6218}"/>
              </a:ext>
            </a:extLst>
          </p:cNvPr>
          <p:cNvSpPr/>
          <p:nvPr/>
        </p:nvSpPr>
        <p:spPr>
          <a:xfrm>
            <a:off x="7184454" y="1499045"/>
            <a:ext cx="1711088" cy="17346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700" b="0" i="0" u="none" strike="noStrike" kern="0" cap="none" spc="0" normalizeH="0" baseline="0" noProof="0">
                <a:ln>
                  <a:noFill/>
                </a:ln>
                <a:solidFill>
                  <a:srgbClr val="FFFFFF"/>
                </a:solidFill>
                <a:effectLst/>
                <a:uLnTx/>
                <a:uFillTx/>
                <a:latin typeface="Arial"/>
                <a:ea typeface="游ゴシック Medium"/>
                <a:cs typeface="+mn-cs"/>
              </a:rPr>
              <a:t>※</a:t>
            </a:r>
            <a:r>
              <a:rPr kumimoji="0" lang="ja-JP" altLang="en-US" sz="700" b="0" i="0" u="none" strike="noStrike" kern="0" cap="none" spc="0" normalizeH="0" baseline="0" noProof="0">
                <a:ln>
                  <a:noFill/>
                </a:ln>
                <a:solidFill>
                  <a:srgbClr val="FFFFFF"/>
                </a:solidFill>
                <a:effectLst/>
                <a:uLnTx/>
                <a:uFillTx/>
                <a:latin typeface="Arial"/>
                <a:ea typeface="游ゴシック Medium"/>
                <a:cs typeface="+mn-cs"/>
              </a:rPr>
              <a:t>現行システムの参考画面です</a:t>
            </a:r>
            <a:endParaRPr kumimoji="0" lang="ja-JP" altLang="en-US" sz="1100" b="0" i="0" u="none" strike="noStrike" kern="0" cap="none" spc="0" normalizeH="0" baseline="0" noProof="0">
              <a:ln>
                <a:noFill/>
              </a:ln>
              <a:solidFill>
                <a:srgbClr val="FFFFFF"/>
              </a:solidFill>
              <a:effectLst/>
              <a:uLnTx/>
              <a:uFillTx/>
              <a:latin typeface="Arial"/>
              <a:ea typeface="游ゴシック Medium"/>
              <a:cs typeface="+mn-cs"/>
            </a:endParaRPr>
          </a:p>
        </p:txBody>
      </p:sp>
      <p:sp>
        <p:nvSpPr>
          <p:cNvPr id="25" name="吹き出し: 線 (枠付き、強調線付き) 24">
            <a:extLst>
              <a:ext uri="{FF2B5EF4-FFF2-40B4-BE49-F238E27FC236}">
                <a16:creationId xmlns:a16="http://schemas.microsoft.com/office/drawing/2014/main" id="{0CD750F5-E3CB-4EA2-5BB2-32AFA06CD271}"/>
              </a:ext>
            </a:extLst>
          </p:cNvPr>
          <p:cNvSpPr/>
          <p:nvPr/>
        </p:nvSpPr>
        <p:spPr>
          <a:xfrm>
            <a:off x="1078708" y="2227820"/>
            <a:ext cx="4481857" cy="1515505"/>
          </a:xfrm>
          <a:prstGeom prst="accentBorderCallout1">
            <a:avLst>
              <a:gd name="adj1" fmla="val 5862"/>
              <a:gd name="adj2" fmla="val 104338"/>
              <a:gd name="adj3" fmla="val 5781"/>
              <a:gd name="adj4" fmla="val 116099"/>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30" name="正方形/長方形 29">
            <a:extLst>
              <a:ext uri="{FF2B5EF4-FFF2-40B4-BE49-F238E27FC236}">
                <a16:creationId xmlns:a16="http://schemas.microsoft.com/office/drawing/2014/main" id="{3448C59E-558C-342D-EA1A-7AE67789B08F}"/>
              </a:ext>
            </a:extLst>
          </p:cNvPr>
          <p:cNvSpPr/>
          <p:nvPr/>
        </p:nvSpPr>
        <p:spPr>
          <a:xfrm>
            <a:off x="6293339" y="2152795"/>
            <a:ext cx="1826729" cy="1948629"/>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u="sng" kern="0">
                <a:solidFill>
                  <a:srgbClr val="000000"/>
                </a:solidFill>
                <a:latin typeface="+mn-ea"/>
              </a:rPr>
              <a:t>アナウンス</a:t>
            </a:r>
            <a:r>
              <a:rPr kumimoji="0" lang="en-US" altLang="ja-JP" sz="1200" u="sng" kern="0">
                <a:solidFill>
                  <a:srgbClr val="000000"/>
                </a:solidFill>
                <a:latin typeface="+mn-ea"/>
              </a:rPr>
              <a:t>/</a:t>
            </a:r>
            <a:r>
              <a:rPr kumimoji="0" lang="ja-JP" altLang="en-US" sz="1200" u="sng" kern="0">
                <a:solidFill>
                  <a:srgbClr val="000000"/>
                </a:solidFill>
                <a:latin typeface="+mn-ea"/>
              </a:rPr>
              <a:t>お知らせ</a:t>
            </a:r>
            <a:r>
              <a:rPr kumimoji="0" lang="ja-JP" altLang="en-US" sz="1200" b="0" i="0" u="sng" strike="noStrike" kern="0" cap="none" spc="0" normalizeH="0" baseline="0" noProof="0">
                <a:ln>
                  <a:noFill/>
                </a:ln>
                <a:solidFill>
                  <a:srgbClr val="000000"/>
                </a:solidFill>
                <a:effectLst/>
                <a:uLnTx/>
                <a:uFillTx/>
                <a:latin typeface="+mn-ea"/>
                <a:cs typeface="+mn-cs"/>
              </a:rPr>
              <a:t>を入力する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20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kern="0">
                <a:solidFill>
                  <a:srgbClr val="000000"/>
                </a:solidFill>
                <a:latin typeface="+mn-ea"/>
              </a:rPr>
              <a:t>事業部内に共有すべき事項</a:t>
            </a:r>
            <a:r>
              <a:rPr kumimoji="0" lang="ja-JP" altLang="en-US" sz="1100" b="0" i="0" u="none" strike="noStrike" kern="0" cap="none" spc="0" normalizeH="0" baseline="0" noProof="0">
                <a:ln>
                  <a:noFill/>
                </a:ln>
                <a:solidFill>
                  <a:srgbClr val="000000"/>
                </a:solidFill>
                <a:effectLst/>
                <a:uLnTx/>
                <a:uFillTx/>
                <a:latin typeface="+mn-ea"/>
                <a:cs typeface="+mn-cs"/>
              </a:rPr>
              <a:t>を作成する機能</a:t>
            </a:r>
            <a:endParaRPr kumimoji="0" lang="en-US" altLang="ja-JP" sz="11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200" b="0" i="0" u="none" strike="noStrike" kern="0" cap="none" spc="0" normalizeH="0" baseline="0" noProof="0">
              <a:ln>
                <a:noFill/>
              </a:ln>
              <a:solidFill>
                <a:srgbClr val="000000"/>
              </a:solidFill>
              <a:effectLst/>
              <a:uLnTx/>
              <a:uFillTx/>
              <a:latin typeface="+mn-ea"/>
              <a:cs typeface="+mn-cs"/>
            </a:endParaRPr>
          </a:p>
        </p:txBody>
      </p:sp>
      <p:pic>
        <p:nvPicPr>
          <p:cNvPr id="2" name="図 1">
            <a:extLst>
              <a:ext uri="{FF2B5EF4-FFF2-40B4-BE49-F238E27FC236}">
                <a16:creationId xmlns:a16="http://schemas.microsoft.com/office/drawing/2014/main" id="{2D15A602-C390-7D1A-6ED4-27EEDE30C117}"/>
              </a:ext>
            </a:extLst>
          </p:cNvPr>
          <p:cNvPicPr>
            <a:picLocks noChangeAspect="1"/>
          </p:cNvPicPr>
          <p:nvPr/>
        </p:nvPicPr>
        <p:blipFill>
          <a:blip r:embed="rId5"/>
          <a:stretch>
            <a:fillRect/>
          </a:stretch>
        </p:blipFill>
        <p:spPr>
          <a:xfrm>
            <a:off x="1138491" y="2495440"/>
            <a:ext cx="4362289" cy="990179"/>
          </a:xfrm>
          <a:prstGeom prst="rect">
            <a:avLst/>
          </a:prstGeom>
        </p:spPr>
      </p:pic>
    </p:spTree>
    <p:extLst>
      <p:ext uri="{BB962C8B-B14F-4D97-AF65-F5344CB8AC3E}">
        <p14:creationId xmlns:p14="http://schemas.microsoft.com/office/powerpoint/2010/main" val="37981919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84D1DA-97ED-2719-33EF-A13650BDF72A}"/>
              </a:ext>
            </a:extLst>
          </p:cNvPr>
          <p:cNvGraphicFramePr>
            <a:graphicFrameLocks noChangeAspect="1"/>
          </p:cNvGraphicFramePr>
          <p:nvPr>
            <p:custDataLst>
              <p:tags r:id="rId1"/>
            </p:custDataLst>
            <p:extLst>
              <p:ext uri="{D42A27DB-BD31-4B8C-83A1-F6EECF244321}">
                <p14:modId xmlns:p14="http://schemas.microsoft.com/office/powerpoint/2010/main" val="3802387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2A84D1DA-97ED-2719-33EF-A13650BDF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吹き出し: 線 (枠付き、強調線付き) 7">
            <a:extLst>
              <a:ext uri="{FF2B5EF4-FFF2-40B4-BE49-F238E27FC236}">
                <a16:creationId xmlns:a16="http://schemas.microsoft.com/office/drawing/2014/main" id="{45FC897D-F305-AD16-6F84-DEB50D018DAD}"/>
              </a:ext>
            </a:extLst>
          </p:cNvPr>
          <p:cNvSpPr/>
          <p:nvPr/>
        </p:nvSpPr>
        <p:spPr>
          <a:xfrm>
            <a:off x="406799" y="4090153"/>
            <a:ext cx="4136077" cy="2631323"/>
          </a:xfrm>
          <a:prstGeom prst="accentBorderCallout1">
            <a:avLst>
              <a:gd name="adj1" fmla="val 5862"/>
              <a:gd name="adj2" fmla="val 104338"/>
              <a:gd name="adj3" fmla="val 5781"/>
              <a:gd name="adj4" fmla="val 116099"/>
            </a:avLst>
          </a:prstGeom>
          <a:solidFill>
            <a:schemeClr val="bg1"/>
          </a:solid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pic>
        <p:nvPicPr>
          <p:cNvPr id="5" name="図 4">
            <a:extLst>
              <a:ext uri="{FF2B5EF4-FFF2-40B4-BE49-F238E27FC236}">
                <a16:creationId xmlns:a16="http://schemas.microsoft.com/office/drawing/2014/main" id="{6A8D6FF8-FDF3-4E76-481E-F068C5C9239F}"/>
              </a:ext>
            </a:extLst>
          </p:cNvPr>
          <p:cNvPicPr>
            <a:picLocks noChangeAspect="1"/>
          </p:cNvPicPr>
          <p:nvPr/>
        </p:nvPicPr>
        <p:blipFill>
          <a:blip r:embed="rId5"/>
          <a:stretch>
            <a:fillRect/>
          </a:stretch>
        </p:blipFill>
        <p:spPr>
          <a:xfrm>
            <a:off x="406799" y="1789449"/>
            <a:ext cx="3980795" cy="2281422"/>
          </a:xfrm>
          <a:prstGeom prst="rect">
            <a:avLst/>
          </a:prstGeom>
        </p:spPr>
      </p:pic>
      <p:sp>
        <p:nvSpPr>
          <p:cNvPr id="4" name="タイトル 3">
            <a:extLst>
              <a:ext uri="{FF2B5EF4-FFF2-40B4-BE49-F238E27FC236}">
                <a16:creationId xmlns:a16="http://schemas.microsoft.com/office/drawing/2014/main" id="{C0CD4ED1-0F74-83B6-F4AC-8C87103B97BF}"/>
              </a:ext>
            </a:extLst>
          </p:cNvPr>
          <p:cNvSpPr>
            <a:spLocks noGrp="1"/>
          </p:cNvSpPr>
          <p:nvPr>
            <p:ph type="title"/>
          </p:nvPr>
        </p:nvSpPr>
        <p:spPr/>
        <p:txBody>
          <a:bodyPr vert="horz"/>
          <a:lstStyle/>
          <a:p>
            <a:r>
              <a:rPr lang="ja-JP" altLang="en-US"/>
              <a:t>２．機能要件</a:t>
            </a:r>
            <a:endParaRPr kumimoji="1" lang="ja-JP" altLang="en-US"/>
          </a:p>
        </p:txBody>
      </p:sp>
      <p:sp>
        <p:nvSpPr>
          <p:cNvPr id="3" name="テキスト プレースホルダー 4">
            <a:extLst>
              <a:ext uri="{FF2B5EF4-FFF2-40B4-BE49-F238E27FC236}">
                <a16:creationId xmlns:a16="http://schemas.microsoft.com/office/drawing/2014/main" id="{251B3422-0C83-F0E0-CEB5-1398EC9D9C0C}"/>
              </a:ext>
            </a:extLst>
          </p:cNvPr>
          <p:cNvSpPr txBox="1">
            <a:spLocks/>
          </p:cNvSpPr>
          <p:nvPr/>
        </p:nvSpPr>
        <p:spPr>
          <a:xfrm>
            <a:off x="251524" y="1052963"/>
            <a:ext cx="8640950" cy="36512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kumimoji="1" lang="ja-JP" altLang="en-US" sz="1800"/>
              <a:t>画面イメージ</a:t>
            </a:r>
            <a:endParaRPr kumimoji="1" lang="en-US" altLang="zh-TW"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28" name="スライド番号プレースホルダー 1">
            <a:extLst>
              <a:ext uri="{FF2B5EF4-FFF2-40B4-BE49-F238E27FC236}">
                <a16:creationId xmlns:a16="http://schemas.microsoft.com/office/drawing/2014/main" id="{B45C7C43-84BC-EB68-B34A-AAE39F6D8E9C}"/>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26</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91" name="正方形/長方形 90">
            <a:extLst>
              <a:ext uri="{FF2B5EF4-FFF2-40B4-BE49-F238E27FC236}">
                <a16:creationId xmlns:a16="http://schemas.microsoft.com/office/drawing/2014/main" id="{6CE6E245-6D90-A273-F2A0-D60BE5CDAECB}"/>
              </a:ext>
            </a:extLst>
          </p:cNvPr>
          <p:cNvSpPr/>
          <p:nvPr/>
        </p:nvSpPr>
        <p:spPr>
          <a:xfrm>
            <a:off x="255605" y="1418087"/>
            <a:ext cx="8665427" cy="25841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FFFFFF"/>
                </a:solidFill>
                <a:effectLst/>
                <a:uLnTx/>
                <a:uFillTx/>
                <a:latin typeface="Arial"/>
                <a:ea typeface="游ゴシック Medium"/>
                <a:cs typeface="+mn-cs"/>
              </a:rPr>
              <a:t>関連文書イメージ　　　　</a:t>
            </a:r>
          </a:p>
        </p:txBody>
      </p:sp>
      <p:sp>
        <p:nvSpPr>
          <p:cNvPr id="92" name="正方形/長方形 91">
            <a:extLst>
              <a:ext uri="{FF2B5EF4-FFF2-40B4-BE49-F238E27FC236}">
                <a16:creationId xmlns:a16="http://schemas.microsoft.com/office/drawing/2014/main" id="{FB29D3D2-993B-758A-AE64-338460FA6218}"/>
              </a:ext>
            </a:extLst>
          </p:cNvPr>
          <p:cNvSpPr/>
          <p:nvPr/>
        </p:nvSpPr>
        <p:spPr>
          <a:xfrm>
            <a:off x="7184454" y="1499045"/>
            <a:ext cx="1711088" cy="17346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700" b="0" i="0" u="none" strike="noStrike" kern="0" cap="none" spc="0" normalizeH="0" baseline="0" noProof="0">
                <a:ln>
                  <a:noFill/>
                </a:ln>
                <a:solidFill>
                  <a:srgbClr val="FFFFFF"/>
                </a:solidFill>
                <a:effectLst/>
                <a:uLnTx/>
                <a:uFillTx/>
                <a:latin typeface="Arial"/>
                <a:ea typeface="游ゴシック Medium"/>
                <a:cs typeface="+mn-cs"/>
              </a:rPr>
              <a:t>※</a:t>
            </a:r>
            <a:r>
              <a:rPr kumimoji="0" lang="ja-JP" altLang="en-US" sz="700" b="0" i="0" u="none" strike="noStrike" kern="0" cap="none" spc="0" normalizeH="0" baseline="0" noProof="0">
                <a:ln>
                  <a:noFill/>
                </a:ln>
                <a:solidFill>
                  <a:srgbClr val="FFFFFF"/>
                </a:solidFill>
                <a:effectLst/>
                <a:uLnTx/>
                <a:uFillTx/>
                <a:latin typeface="Arial"/>
                <a:ea typeface="游ゴシック Medium"/>
                <a:cs typeface="+mn-cs"/>
              </a:rPr>
              <a:t>現行システムの参考画面です</a:t>
            </a:r>
            <a:endParaRPr kumimoji="0" lang="ja-JP" altLang="en-US" sz="1100" b="0" i="0" u="none" strike="noStrike" kern="0" cap="none" spc="0" normalizeH="0" baseline="0" noProof="0">
              <a:ln>
                <a:noFill/>
              </a:ln>
              <a:solidFill>
                <a:srgbClr val="FFFFFF"/>
              </a:solidFill>
              <a:effectLst/>
              <a:uLnTx/>
              <a:uFillTx/>
              <a:latin typeface="Arial"/>
              <a:ea typeface="游ゴシック Medium"/>
              <a:cs typeface="+mn-cs"/>
            </a:endParaRPr>
          </a:p>
        </p:txBody>
      </p:sp>
      <p:sp>
        <p:nvSpPr>
          <p:cNvPr id="25" name="吹き出し: 線 (枠付き、強調線付き) 24">
            <a:extLst>
              <a:ext uri="{FF2B5EF4-FFF2-40B4-BE49-F238E27FC236}">
                <a16:creationId xmlns:a16="http://schemas.microsoft.com/office/drawing/2014/main" id="{0CD750F5-E3CB-4EA2-5BB2-32AFA06CD271}"/>
              </a:ext>
            </a:extLst>
          </p:cNvPr>
          <p:cNvSpPr/>
          <p:nvPr/>
        </p:nvSpPr>
        <p:spPr>
          <a:xfrm>
            <a:off x="406799" y="1823110"/>
            <a:ext cx="4136077" cy="2214100"/>
          </a:xfrm>
          <a:prstGeom prst="accentBorderCallout1">
            <a:avLst>
              <a:gd name="adj1" fmla="val 5862"/>
              <a:gd name="adj2" fmla="val 104338"/>
              <a:gd name="adj3" fmla="val 5781"/>
              <a:gd name="adj4" fmla="val 116099"/>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30" name="正方形/長方形 29">
            <a:extLst>
              <a:ext uri="{FF2B5EF4-FFF2-40B4-BE49-F238E27FC236}">
                <a16:creationId xmlns:a16="http://schemas.microsoft.com/office/drawing/2014/main" id="{3448C59E-558C-342D-EA1A-7AE67789B08F}"/>
              </a:ext>
            </a:extLst>
          </p:cNvPr>
          <p:cNvSpPr/>
          <p:nvPr/>
        </p:nvSpPr>
        <p:spPr>
          <a:xfrm>
            <a:off x="5168491" y="1779930"/>
            <a:ext cx="2015964" cy="2158782"/>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sng" strike="noStrike" kern="0" cap="none" spc="0" normalizeH="0" baseline="0" noProof="0">
                <a:ln>
                  <a:noFill/>
                </a:ln>
                <a:solidFill>
                  <a:srgbClr val="000000"/>
                </a:solidFill>
                <a:effectLst/>
                <a:uLnTx/>
                <a:uFillTx/>
                <a:latin typeface="+mn-ea"/>
                <a:cs typeface="+mn-cs"/>
              </a:rPr>
              <a:t>関連文書を入力する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40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0" cap="none" spc="0" normalizeH="0" baseline="0" noProof="0">
                <a:ln>
                  <a:noFill/>
                </a:ln>
                <a:solidFill>
                  <a:srgbClr val="000000"/>
                </a:solidFill>
                <a:effectLst/>
                <a:uLnTx/>
                <a:uFillTx/>
                <a:latin typeface="+mn-ea"/>
                <a:cs typeface="+mn-cs"/>
              </a:rPr>
              <a:t>納入仕様書から引用される資料を登録する機能</a:t>
            </a:r>
            <a:endParaRPr kumimoji="0" lang="en-US" altLang="ja-JP" sz="11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200" b="0" i="0" u="none" strike="noStrike" kern="0" cap="none" spc="0" normalizeH="0" baseline="0" noProof="0">
              <a:ln>
                <a:noFill/>
              </a:ln>
              <a:solidFill>
                <a:srgbClr val="000000"/>
              </a:solidFill>
              <a:effectLst/>
              <a:uLnTx/>
              <a:uFillTx/>
              <a:latin typeface="+mn-ea"/>
              <a:cs typeface="+mn-cs"/>
            </a:endParaRPr>
          </a:p>
        </p:txBody>
      </p:sp>
      <p:pic>
        <p:nvPicPr>
          <p:cNvPr id="6" name="図 5">
            <a:extLst>
              <a:ext uri="{FF2B5EF4-FFF2-40B4-BE49-F238E27FC236}">
                <a16:creationId xmlns:a16="http://schemas.microsoft.com/office/drawing/2014/main" id="{98FF6A6B-E7BB-5BAE-0FB1-0B1AB215FC9A}"/>
              </a:ext>
            </a:extLst>
          </p:cNvPr>
          <p:cNvPicPr>
            <a:picLocks noChangeAspect="1"/>
          </p:cNvPicPr>
          <p:nvPr/>
        </p:nvPicPr>
        <p:blipFill>
          <a:blip r:embed="rId6"/>
          <a:stretch>
            <a:fillRect/>
          </a:stretch>
        </p:blipFill>
        <p:spPr>
          <a:xfrm>
            <a:off x="816099" y="4104532"/>
            <a:ext cx="3317476" cy="2567375"/>
          </a:xfrm>
          <a:prstGeom prst="rect">
            <a:avLst/>
          </a:prstGeom>
        </p:spPr>
      </p:pic>
      <p:sp>
        <p:nvSpPr>
          <p:cNvPr id="9" name="正方形/長方形 8">
            <a:extLst>
              <a:ext uri="{FF2B5EF4-FFF2-40B4-BE49-F238E27FC236}">
                <a16:creationId xmlns:a16="http://schemas.microsoft.com/office/drawing/2014/main" id="{8D72B16E-B871-F529-01BA-FC134161CAFB}"/>
              </a:ext>
            </a:extLst>
          </p:cNvPr>
          <p:cNvSpPr/>
          <p:nvPr/>
        </p:nvSpPr>
        <p:spPr>
          <a:xfrm>
            <a:off x="5168490" y="4046129"/>
            <a:ext cx="2708685" cy="2158782"/>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u="sng" kern="0">
                <a:solidFill>
                  <a:srgbClr val="000000"/>
                </a:solidFill>
                <a:latin typeface="+mn-ea"/>
              </a:rPr>
              <a:t>ワークフローを設定する</a:t>
            </a:r>
            <a:r>
              <a:rPr kumimoji="0" lang="ja-JP" altLang="en-US" sz="1200" b="0" i="0" u="sng" strike="noStrike" kern="0" cap="none" spc="0" normalizeH="0" baseline="0" noProof="0">
                <a:ln>
                  <a:noFill/>
                </a:ln>
                <a:solidFill>
                  <a:srgbClr val="000000"/>
                </a:solidFill>
                <a:effectLst/>
                <a:uLnTx/>
                <a:uFillTx/>
                <a:latin typeface="+mn-ea"/>
                <a:cs typeface="+mn-cs"/>
              </a:rPr>
              <a:t>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40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050" b="0" i="0" u="none" strike="noStrike" kern="0" cap="none" spc="0" normalizeH="0" baseline="0" noProof="0">
                <a:ln>
                  <a:noFill/>
                </a:ln>
                <a:solidFill>
                  <a:srgbClr val="000000"/>
                </a:solidFill>
                <a:effectLst/>
                <a:uLnTx/>
                <a:uFillTx/>
                <a:latin typeface="+mn-ea"/>
                <a:cs typeface="+mn-cs"/>
              </a:rPr>
              <a:t>担当者を選択する機能</a:t>
            </a: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050" b="0" i="0" u="none" strike="noStrike" kern="0" cap="none" spc="0" normalizeH="0" baseline="0" noProof="0">
                <a:ln>
                  <a:noFill/>
                </a:ln>
                <a:solidFill>
                  <a:srgbClr val="000000"/>
                </a:solidFill>
                <a:effectLst/>
                <a:uLnTx/>
                <a:uFillTx/>
                <a:latin typeface="+mn-ea"/>
                <a:cs typeface="+mn-cs"/>
              </a:rPr>
              <a:t>ルート情報を読み込む機能</a:t>
            </a: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200" b="0" i="0" u="none" strike="noStrike" kern="0" cap="none" spc="0" normalizeH="0" baseline="0" noProof="0">
              <a:ln>
                <a:noFill/>
              </a:ln>
              <a:solidFill>
                <a:srgbClr val="000000"/>
              </a:solidFill>
              <a:effectLst/>
              <a:uLnTx/>
              <a:uFillTx/>
              <a:latin typeface="+mn-ea"/>
              <a:cs typeface="+mn-cs"/>
            </a:endParaRPr>
          </a:p>
        </p:txBody>
      </p:sp>
    </p:spTree>
    <p:extLst>
      <p:ext uri="{BB962C8B-B14F-4D97-AF65-F5344CB8AC3E}">
        <p14:creationId xmlns:p14="http://schemas.microsoft.com/office/powerpoint/2010/main" val="4819451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84D1DA-97ED-2719-33EF-A13650BDF7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2A84D1DA-97ED-2719-33EF-A13650BDF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C0CD4ED1-0F74-83B6-F4AC-8C87103B97BF}"/>
              </a:ext>
            </a:extLst>
          </p:cNvPr>
          <p:cNvSpPr>
            <a:spLocks noGrp="1"/>
          </p:cNvSpPr>
          <p:nvPr>
            <p:ph type="title"/>
          </p:nvPr>
        </p:nvSpPr>
        <p:spPr/>
        <p:txBody>
          <a:bodyPr vert="horz"/>
          <a:lstStyle/>
          <a:p>
            <a:r>
              <a:rPr lang="ja-JP" altLang="en-US"/>
              <a:t>２．機能要件</a:t>
            </a:r>
            <a:endParaRPr kumimoji="1" lang="ja-JP" altLang="en-US"/>
          </a:p>
        </p:txBody>
      </p:sp>
      <p:sp>
        <p:nvSpPr>
          <p:cNvPr id="3" name="テキスト プレースホルダー 4">
            <a:extLst>
              <a:ext uri="{FF2B5EF4-FFF2-40B4-BE49-F238E27FC236}">
                <a16:creationId xmlns:a16="http://schemas.microsoft.com/office/drawing/2014/main" id="{251B3422-0C83-F0E0-CEB5-1398EC9D9C0C}"/>
              </a:ext>
            </a:extLst>
          </p:cNvPr>
          <p:cNvSpPr txBox="1">
            <a:spLocks/>
          </p:cNvSpPr>
          <p:nvPr/>
        </p:nvSpPr>
        <p:spPr>
          <a:xfrm>
            <a:off x="251524" y="1052963"/>
            <a:ext cx="8640950" cy="36512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kumimoji="1" lang="ja-JP" altLang="en-US" sz="1800"/>
              <a:t>画面イメージ</a:t>
            </a:r>
            <a:endParaRPr kumimoji="1" lang="en-US" altLang="zh-TW"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28" name="スライド番号プレースホルダー 1">
            <a:extLst>
              <a:ext uri="{FF2B5EF4-FFF2-40B4-BE49-F238E27FC236}">
                <a16:creationId xmlns:a16="http://schemas.microsoft.com/office/drawing/2014/main" id="{B45C7C43-84BC-EB68-B34A-AAE39F6D8E9C}"/>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27</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91" name="正方形/長方形 90">
            <a:extLst>
              <a:ext uri="{FF2B5EF4-FFF2-40B4-BE49-F238E27FC236}">
                <a16:creationId xmlns:a16="http://schemas.microsoft.com/office/drawing/2014/main" id="{6CE6E245-6D90-A273-F2A0-D60BE5CDAECB}"/>
              </a:ext>
            </a:extLst>
          </p:cNvPr>
          <p:cNvSpPr/>
          <p:nvPr/>
        </p:nvSpPr>
        <p:spPr>
          <a:xfrm>
            <a:off x="255605" y="1418087"/>
            <a:ext cx="8665427" cy="25841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FFFFFF"/>
                </a:solidFill>
                <a:effectLst/>
                <a:uLnTx/>
                <a:uFillTx/>
                <a:latin typeface="Arial"/>
                <a:ea typeface="游ゴシック Medium"/>
                <a:cs typeface="+mn-cs"/>
              </a:rPr>
              <a:t>マスタ（事業所窓口）イメージ　　　　</a:t>
            </a:r>
          </a:p>
        </p:txBody>
      </p:sp>
      <p:sp>
        <p:nvSpPr>
          <p:cNvPr id="92" name="正方形/長方形 91">
            <a:extLst>
              <a:ext uri="{FF2B5EF4-FFF2-40B4-BE49-F238E27FC236}">
                <a16:creationId xmlns:a16="http://schemas.microsoft.com/office/drawing/2014/main" id="{FB29D3D2-993B-758A-AE64-338460FA6218}"/>
              </a:ext>
            </a:extLst>
          </p:cNvPr>
          <p:cNvSpPr/>
          <p:nvPr/>
        </p:nvSpPr>
        <p:spPr>
          <a:xfrm>
            <a:off x="7184454" y="1499045"/>
            <a:ext cx="1711088" cy="17346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700" b="0" i="0" u="none" strike="noStrike" kern="0" cap="none" spc="0" normalizeH="0" baseline="0" noProof="0">
                <a:ln>
                  <a:noFill/>
                </a:ln>
                <a:solidFill>
                  <a:srgbClr val="FFFFFF"/>
                </a:solidFill>
                <a:effectLst/>
                <a:uLnTx/>
                <a:uFillTx/>
                <a:latin typeface="Arial"/>
                <a:ea typeface="游ゴシック Medium"/>
                <a:cs typeface="+mn-cs"/>
              </a:rPr>
              <a:t>※</a:t>
            </a:r>
            <a:r>
              <a:rPr kumimoji="0" lang="ja-JP" altLang="en-US" sz="700" b="0" i="0" u="none" strike="noStrike" kern="0" cap="none" spc="0" normalizeH="0" baseline="0" noProof="0">
                <a:ln>
                  <a:noFill/>
                </a:ln>
                <a:solidFill>
                  <a:srgbClr val="FFFFFF"/>
                </a:solidFill>
                <a:effectLst/>
                <a:uLnTx/>
                <a:uFillTx/>
                <a:latin typeface="Arial"/>
                <a:ea typeface="游ゴシック Medium"/>
                <a:cs typeface="+mn-cs"/>
              </a:rPr>
              <a:t>現行システムの参考画面です</a:t>
            </a:r>
            <a:endParaRPr kumimoji="0" lang="ja-JP" altLang="en-US" sz="1100" b="0" i="0" u="none" strike="noStrike" kern="0" cap="none" spc="0" normalizeH="0" baseline="0" noProof="0">
              <a:ln>
                <a:noFill/>
              </a:ln>
              <a:solidFill>
                <a:srgbClr val="FFFFFF"/>
              </a:solidFill>
              <a:effectLst/>
              <a:uLnTx/>
              <a:uFillTx/>
              <a:latin typeface="Arial"/>
              <a:ea typeface="游ゴシック Medium"/>
              <a:cs typeface="+mn-cs"/>
            </a:endParaRPr>
          </a:p>
        </p:txBody>
      </p:sp>
      <p:sp>
        <p:nvSpPr>
          <p:cNvPr id="25" name="吹き出し: 線 (枠付き、強調線付き) 24">
            <a:extLst>
              <a:ext uri="{FF2B5EF4-FFF2-40B4-BE49-F238E27FC236}">
                <a16:creationId xmlns:a16="http://schemas.microsoft.com/office/drawing/2014/main" id="{0CD750F5-E3CB-4EA2-5BB2-32AFA06CD271}"/>
              </a:ext>
            </a:extLst>
          </p:cNvPr>
          <p:cNvSpPr/>
          <p:nvPr/>
        </p:nvSpPr>
        <p:spPr>
          <a:xfrm>
            <a:off x="1438275" y="2195975"/>
            <a:ext cx="3815107" cy="2240558"/>
          </a:xfrm>
          <a:prstGeom prst="accentBorderCallout1">
            <a:avLst>
              <a:gd name="adj1" fmla="val 5862"/>
              <a:gd name="adj2" fmla="val 104338"/>
              <a:gd name="adj3" fmla="val 5781"/>
              <a:gd name="adj4" fmla="val 116099"/>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30" name="正方形/長方形 29">
            <a:extLst>
              <a:ext uri="{FF2B5EF4-FFF2-40B4-BE49-F238E27FC236}">
                <a16:creationId xmlns:a16="http://schemas.microsoft.com/office/drawing/2014/main" id="{3448C59E-558C-342D-EA1A-7AE67789B08F}"/>
              </a:ext>
            </a:extLst>
          </p:cNvPr>
          <p:cNvSpPr/>
          <p:nvPr/>
        </p:nvSpPr>
        <p:spPr>
          <a:xfrm>
            <a:off x="5878996" y="2152795"/>
            <a:ext cx="1961137" cy="1948629"/>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u="sng" kern="0">
                <a:solidFill>
                  <a:srgbClr val="000000"/>
                </a:solidFill>
                <a:latin typeface="+mn-ea"/>
              </a:rPr>
              <a:t>マスタ（事業所窓口）</a:t>
            </a:r>
            <a:r>
              <a:rPr kumimoji="0" lang="ja-JP" altLang="en-US" sz="1200" b="0" i="0" u="sng" strike="noStrike" kern="0" cap="none" spc="0" normalizeH="0" baseline="0" noProof="0">
                <a:ln>
                  <a:noFill/>
                </a:ln>
                <a:solidFill>
                  <a:srgbClr val="000000"/>
                </a:solidFill>
                <a:effectLst/>
                <a:uLnTx/>
                <a:uFillTx/>
                <a:latin typeface="+mn-ea"/>
                <a:cs typeface="+mn-cs"/>
              </a:rPr>
              <a:t>を入力する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20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kern="0">
                <a:solidFill>
                  <a:srgbClr val="000000"/>
                </a:solidFill>
                <a:latin typeface="+mn-ea"/>
              </a:rPr>
              <a:t>事業所窓口や担当者を選択できる機能</a:t>
            </a:r>
            <a:endParaRPr kumimoji="0" lang="en-US" altLang="ja-JP" sz="11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200" b="0" i="0" u="none" strike="noStrike" kern="0" cap="none" spc="0" normalizeH="0" baseline="0" noProof="0">
              <a:ln>
                <a:noFill/>
              </a:ln>
              <a:solidFill>
                <a:srgbClr val="000000"/>
              </a:solidFill>
              <a:effectLst/>
              <a:uLnTx/>
              <a:uFillTx/>
              <a:latin typeface="+mn-ea"/>
              <a:cs typeface="+mn-cs"/>
            </a:endParaRPr>
          </a:p>
        </p:txBody>
      </p:sp>
      <p:pic>
        <p:nvPicPr>
          <p:cNvPr id="6" name="図 5">
            <a:extLst>
              <a:ext uri="{FF2B5EF4-FFF2-40B4-BE49-F238E27FC236}">
                <a16:creationId xmlns:a16="http://schemas.microsoft.com/office/drawing/2014/main" id="{4EC1523F-75FD-2C47-F1E6-EC2EA55CD677}"/>
              </a:ext>
            </a:extLst>
          </p:cNvPr>
          <p:cNvPicPr>
            <a:picLocks noChangeAspect="1"/>
          </p:cNvPicPr>
          <p:nvPr/>
        </p:nvPicPr>
        <p:blipFill>
          <a:blip r:embed="rId5"/>
          <a:stretch>
            <a:fillRect/>
          </a:stretch>
        </p:blipFill>
        <p:spPr>
          <a:xfrm>
            <a:off x="1492410" y="2521385"/>
            <a:ext cx="3685662" cy="1915148"/>
          </a:xfrm>
          <a:prstGeom prst="rect">
            <a:avLst/>
          </a:prstGeom>
        </p:spPr>
      </p:pic>
      <p:pic>
        <p:nvPicPr>
          <p:cNvPr id="9" name="図 8">
            <a:extLst>
              <a:ext uri="{FF2B5EF4-FFF2-40B4-BE49-F238E27FC236}">
                <a16:creationId xmlns:a16="http://schemas.microsoft.com/office/drawing/2014/main" id="{BF8B5062-6D3C-61F3-F0CB-25C35D2ED8C1}"/>
              </a:ext>
            </a:extLst>
          </p:cNvPr>
          <p:cNvPicPr>
            <a:picLocks noChangeAspect="1"/>
          </p:cNvPicPr>
          <p:nvPr/>
        </p:nvPicPr>
        <p:blipFill rotWithShape="1">
          <a:blip r:embed="rId6"/>
          <a:srcRect r="1822" b="27372"/>
          <a:stretch/>
        </p:blipFill>
        <p:spPr>
          <a:xfrm>
            <a:off x="1492411" y="2262967"/>
            <a:ext cx="3685662" cy="258418"/>
          </a:xfrm>
          <a:prstGeom prst="rect">
            <a:avLst/>
          </a:prstGeom>
        </p:spPr>
      </p:pic>
    </p:spTree>
    <p:extLst>
      <p:ext uri="{BB962C8B-B14F-4D97-AF65-F5344CB8AC3E}">
        <p14:creationId xmlns:p14="http://schemas.microsoft.com/office/powerpoint/2010/main" val="1615492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84D1DA-97ED-2719-33EF-A13650BDF7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2A84D1DA-97ED-2719-33EF-A13650BDF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C0CD4ED1-0F74-83B6-F4AC-8C87103B97BF}"/>
              </a:ext>
            </a:extLst>
          </p:cNvPr>
          <p:cNvSpPr>
            <a:spLocks noGrp="1"/>
          </p:cNvSpPr>
          <p:nvPr>
            <p:ph type="title"/>
          </p:nvPr>
        </p:nvSpPr>
        <p:spPr/>
        <p:txBody>
          <a:bodyPr vert="horz"/>
          <a:lstStyle/>
          <a:p>
            <a:r>
              <a:rPr lang="ja-JP" altLang="en-US"/>
              <a:t>２．機能要件</a:t>
            </a:r>
            <a:endParaRPr kumimoji="1" lang="ja-JP" altLang="en-US"/>
          </a:p>
        </p:txBody>
      </p:sp>
      <p:sp>
        <p:nvSpPr>
          <p:cNvPr id="3" name="テキスト プレースホルダー 4">
            <a:extLst>
              <a:ext uri="{FF2B5EF4-FFF2-40B4-BE49-F238E27FC236}">
                <a16:creationId xmlns:a16="http://schemas.microsoft.com/office/drawing/2014/main" id="{251B3422-0C83-F0E0-CEB5-1398EC9D9C0C}"/>
              </a:ext>
            </a:extLst>
          </p:cNvPr>
          <p:cNvSpPr txBox="1">
            <a:spLocks/>
          </p:cNvSpPr>
          <p:nvPr/>
        </p:nvSpPr>
        <p:spPr>
          <a:xfrm>
            <a:off x="251524" y="1052963"/>
            <a:ext cx="8640950" cy="36512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kumimoji="1" lang="ja-JP" altLang="en-US" sz="1800"/>
              <a:t>画面イメージ</a:t>
            </a:r>
            <a:endParaRPr kumimoji="1" lang="en-US" altLang="zh-TW"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28" name="スライド番号プレースホルダー 1">
            <a:extLst>
              <a:ext uri="{FF2B5EF4-FFF2-40B4-BE49-F238E27FC236}">
                <a16:creationId xmlns:a16="http://schemas.microsoft.com/office/drawing/2014/main" id="{B45C7C43-84BC-EB68-B34A-AAE39F6D8E9C}"/>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28</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91" name="正方形/長方形 90">
            <a:extLst>
              <a:ext uri="{FF2B5EF4-FFF2-40B4-BE49-F238E27FC236}">
                <a16:creationId xmlns:a16="http://schemas.microsoft.com/office/drawing/2014/main" id="{6CE6E245-6D90-A273-F2A0-D60BE5CDAECB}"/>
              </a:ext>
            </a:extLst>
          </p:cNvPr>
          <p:cNvSpPr/>
          <p:nvPr/>
        </p:nvSpPr>
        <p:spPr>
          <a:xfrm>
            <a:off x="255605" y="1418087"/>
            <a:ext cx="8665427" cy="25841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FFFFFF"/>
                </a:solidFill>
                <a:effectLst/>
                <a:uLnTx/>
                <a:uFillTx/>
                <a:latin typeface="Arial"/>
                <a:ea typeface="游ゴシック Medium"/>
                <a:cs typeface="+mn-cs"/>
              </a:rPr>
              <a:t>マスタ（事業所ルート）イメージ　　　　</a:t>
            </a:r>
          </a:p>
        </p:txBody>
      </p:sp>
      <p:sp>
        <p:nvSpPr>
          <p:cNvPr id="92" name="正方形/長方形 91">
            <a:extLst>
              <a:ext uri="{FF2B5EF4-FFF2-40B4-BE49-F238E27FC236}">
                <a16:creationId xmlns:a16="http://schemas.microsoft.com/office/drawing/2014/main" id="{FB29D3D2-993B-758A-AE64-338460FA6218}"/>
              </a:ext>
            </a:extLst>
          </p:cNvPr>
          <p:cNvSpPr/>
          <p:nvPr/>
        </p:nvSpPr>
        <p:spPr>
          <a:xfrm>
            <a:off x="7184454" y="1499045"/>
            <a:ext cx="1711088" cy="17346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700" b="0" i="0" u="none" strike="noStrike" kern="0" cap="none" spc="0" normalizeH="0" baseline="0" noProof="0">
                <a:ln>
                  <a:noFill/>
                </a:ln>
                <a:solidFill>
                  <a:srgbClr val="FFFFFF"/>
                </a:solidFill>
                <a:effectLst/>
                <a:uLnTx/>
                <a:uFillTx/>
                <a:latin typeface="Arial"/>
                <a:ea typeface="游ゴシック Medium"/>
                <a:cs typeface="+mn-cs"/>
              </a:rPr>
              <a:t>※</a:t>
            </a:r>
            <a:r>
              <a:rPr kumimoji="0" lang="ja-JP" altLang="en-US" sz="700" b="0" i="0" u="none" strike="noStrike" kern="0" cap="none" spc="0" normalizeH="0" baseline="0" noProof="0">
                <a:ln>
                  <a:noFill/>
                </a:ln>
                <a:solidFill>
                  <a:srgbClr val="FFFFFF"/>
                </a:solidFill>
                <a:effectLst/>
                <a:uLnTx/>
                <a:uFillTx/>
                <a:latin typeface="Arial"/>
                <a:ea typeface="游ゴシック Medium"/>
                <a:cs typeface="+mn-cs"/>
              </a:rPr>
              <a:t>現行システムの参考画面です</a:t>
            </a:r>
            <a:endParaRPr kumimoji="0" lang="ja-JP" altLang="en-US" sz="1100" b="0" i="0" u="none" strike="noStrike" kern="0" cap="none" spc="0" normalizeH="0" baseline="0" noProof="0">
              <a:ln>
                <a:noFill/>
              </a:ln>
              <a:solidFill>
                <a:srgbClr val="FFFFFF"/>
              </a:solidFill>
              <a:effectLst/>
              <a:uLnTx/>
              <a:uFillTx/>
              <a:latin typeface="Arial"/>
              <a:ea typeface="游ゴシック Medium"/>
              <a:cs typeface="+mn-cs"/>
            </a:endParaRPr>
          </a:p>
        </p:txBody>
      </p:sp>
      <p:sp>
        <p:nvSpPr>
          <p:cNvPr id="25" name="吹き出し: 線 (枠付き、強調線付き) 24">
            <a:extLst>
              <a:ext uri="{FF2B5EF4-FFF2-40B4-BE49-F238E27FC236}">
                <a16:creationId xmlns:a16="http://schemas.microsoft.com/office/drawing/2014/main" id="{0CD750F5-E3CB-4EA2-5BB2-32AFA06CD271}"/>
              </a:ext>
            </a:extLst>
          </p:cNvPr>
          <p:cNvSpPr/>
          <p:nvPr/>
        </p:nvSpPr>
        <p:spPr>
          <a:xfrm>
            <a:off x="1447491" y="1898650"/>
            <a:ext cx="3815107" cy="4457702"/>
          </a:xfrm>
          <a:prstGeom prst="accentBorderCallout1">
            <a:avLst>
              <a:gd name="adj1" fmla="val 14694"/>
              <a:gd name="adj2" fmla="val 103506"/>
              <a:gd name="adj3" fmla="val 14755"/>
              <a:gd name="adj4" fmla="val 114435"/>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30" name="正方形/長方形 29">
            <a:extLst>
              <a:ext uri="{FF2B5EF4-FFF2-40B4-BE49-F238E27FC236}">
                <a16:creationId xmlns:a16="http://schemas.microsoft.com/office/drawing/2014/main" id="{3448C59E-558C-342D-EA1A-7AE67789B08F}"/>
              </a:ext>
            </a:extLst>
          </p:cNvPr>
          <p:cNvSpPr/>
          <p:nvPr/>
        </p:nvSpPr>
        <p:spPr>
          <a:xfrm>
            <a:off x="5869780" y="2152795"/>
            <a:ext cx="2100740" cy="1948629"/>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u="sng" kern="0">
                <a:solidFill>
                  <a:srgbClr val="000000"/>
                </a:solidFill>
                <a:latin typeface="+mn-ea"/>
              </a:rPr>
              <a:t>マスタ（事業所ルート）</a:t>
            </a:r>
            <a:r>
              <a:rPr kumimoji="0" lang="ja-JP" altLang="en-US" sz="1200" b="0" i="0" u="sng" strike="noStrike" kern="0" cap="none" spc="0" normalizeH="0" baseline="0" noProof="0">
                <a:ln>
                  <a:noFill/>
                </a:ln>
                <a:solidFill>
                  <a:srgbClr val="000000"/>
                </a:solidFill>
                <a:effectLst/>
                <a:uLnTx/>
                <a:uFillTx/>
                <a:latin typeface="+mn-ea"/>
                <a:cs typeface="+mn-cs"/>
              </a:rPr>
              <a:t>を入力する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20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0" cap="none" spc="0" normalizeH="0" baseline="0" noProof="0">
                <a:ln>
                  <a:noFill/>
                </a:ln>
                <a:solidFill>
                  <a:srgbClr val="000000"/>
                </a:solidFill>
                <a:effectLst/>
                <a:uLnTx/>
                <a:uFillTx/>
                <a:latin typeface="+mn-ea"/>
                <a:cs typeface="+mn-cs"/>
              </a:rPr>
              <a:t>事業所ルートを登録する機能</a:t>
            </a:r>
            <a:endParaRPr kumimoji="0" lang="en-US" altLang="ja-JP" sz="11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kern="0">
                <a:solidFill>
                  <a:srgbClr val="000000"/>
                </a:solidFill>
                <a:latin typeface="+mn-ea"/>
              </a:rPr>
              <a:t>文書種類を選択できる機能</a:t>
            </a:r>
            <a:endParaRPr kumimoji="0" lang="en-US" altLang="ja-JP" sz="11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kern="0">
                <a:solidFill>
                  <a:srgbClr val="000000"/>
                </a:solidFill>
                <a:latin typeface="+mn-ea"/>
              </a:rPr>
              <a:t>フローの直列・並列を選択できる機能</a:t>
            </a:r>
            <a:endParaRPr kumimoji="0" lang="en-US" altLang="ja-JP" sz="11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200" b="0" i="0" u="none" strike="noStrike" kern="0" cap="none" spc="0" normalizeH="0" baseline="0" noProof="0">
              <a:ln>
                <a:noFill/>
              </a:ln>
              <a:solidFill>
                <a:srgbClr val="000000"/>
              </a:solidFill>
              <a:effectLst/>
              <a:uLnTx/>
              <a:uFillTx/>
              <a:latin typeface="+mn-ea"/>
              <a:cs typeface="+mn-cs"/>
            </a:endParaRPr>
          </a:p>
        </p:txBody>
      </p:sp>
      <p:grpSp>
        <p:nvGrpSpPr>
          <p:cNvPr id="5" name="グループ化 4">
            <a:extLst>
              <a:ext uri="{FF2B5EF4-FFF2-40B4-BE49-F238E27FC236}">
                <a16:creationId xmlns:a16="http://schemas.microsoft.com/office/drawing/2014/main" id="{151AF72A-6D3C-D9EC-32B0-B430C73D68DC}"/>
              </a:ext>
            </a:extLst>
          </p:cNvPr>
          <p:cNvGrpSpPr/>
          <p:nvPr/>
        </p:nvGrpSpPr>
        <p:grpSpPr>
          <a:xfrm>
            <a:off x="1543731" y="1956853"/>
            <a:ext cx="3622629" cy="4358009"/>
            <a:chOff x="1543731" y="1956853"/>
            <a:chExt cx="3622629" cy="4358009"/>
          </a:xfrm>
        </p:grpSpPr>
        <p:pic>
          <p:nvPicPr>
            <p:cNvPr id="8" name="図 7">
              <a:extLst>
                <a:ext uri="{FF2B5EF4-FFF2-40B4-BE49-F238E27FC236}">
                  <a16:creationId xmlns:a16="http://schemas.microsoft.com/office/drawing/2014/main" id="{2C529C48-C1D9-5E60-133A-5BD5CE259203}"/>
                </a:ext>
              </a:extLst>
            </p:cNvPr>
            <p:cNvPicPr>
              <a:picLocks noChangeAspect="1"/>
            </p:cNvPicPr>
            <p:nvPr/>
          </p:nvPicPr>
          <p:blipFill>
            <a:blip r:embed="rId5"/>
            <a:stretch>
              <a:fillRect/>
            </a:stretch>
          </p:blipFill>
          <p:spPr>
            <a:xfrm>
              <a:off x="1543731" y="2265195"/>
              <a:ext cx="3622629" cy="4049667"/>
            </a:xfrm>
            <a:prstGeom prst="rect">
              <a:avLst/>
            </a:prstGeom>
          </p:spPr>
        </p:pic>
        <p:pic>
          <p:nvPicPr>
            <p:cNvPr id="2" name="図 1">
              <a:extLst>
                <a:ext uri="{FF2B5EF4-FFF2-40B4-BE49-F238E27FC236}">
                  <a16:creationId xmlns:a16="http://schemas.microsoft.com/office/drawing/2014/main" id="{F689D93A-7A1B-F249-E32F-FA9AB09086C3}"/>
                </a:ext>
              </a:extLst>
            </p:cNvPr>
            <p:cNvPicPr>
              <a:picLocks noChangeAspect="1"/>
            </p:cNvPicPr>
            <p:nvPr/>
          </p:nvPicPr>
          <p:blipFill rotWithShape="1">
            <a:blip r:embed="rId6"/>
            <a:srcRect r="5045" b="18067"/>
            <a:stretch/>
          </p:blipFill>
          <p:spPr>
            <a:xfrm>
              <a:off x="1543731" y="1956853"/>
              <a:ext cx="3622629" cy="302500"/>
            </a:xfrm>
            <a:prstGeom prst="rect">
              <a:avLst/>
            </a:prstGeom>
          </p:spPr>
        </p:pic>
      </p:grpSp>
    </p:spTree>
    <p:extLst>
      <p:ext uri="{BB962C8B-B14F-4D97-AF65-F5344CB8AC3E}">
        <p14:creationId xmlns:p14="http://schemas.microsoft.com/office/powerpoint/2010/main" val="17121495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84D1DA-97ED-2719-33EF-A13650BDF7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2A84D1DA-97ED-2719-33EF-A13650BDF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C0CD4ED1-0F74-83B6-F4AC-8C87103B97BF}"/>
              </a:ext>
            </a:extLst>
          </p:cNvPr>
          <p:cNvSpPr>
            <a:spLocks noGrp="1"/>
          </p:cNvSpPr>
          <p:nvPr>
            <p:ph type="title"/>
          </p:nvPr>
        </p:nvSpPr>
        <p:spPr/>
        <p:txBody>
          <a:bodyPr vert="horz"/>
          <a:lstStyle/>
          <a:p>
            <a:r>
              <a:rPr lang="ja-JP" altLang="en-US"/>
              <a:t>２．機能要件</a:t>
            </a:r>
            <a:endParaRPr kumimoji="1" lang="ja-JP" altLang="en-US"/>
          </a:p>
        </p:txBody>
      </p:sp>
      <p:sp>
        <p:nvSpPr>
          <p:cNvPr id="3" name="テキスト プレースホルダー 4">
            <a:extLst>
              <a:ext uri="{FF2B5EF4-FFF2-40B4-BE49-F238E27FC236}">
                <a16:creationId xmlns:a16="http://schemas.microsoft.com/office/drawing/2014/main" id="{251B3422-0C83-F0E0-CEB5-1398EC9D9C0C}"/>
              </a:ext>
            </a:extLst>
          </p:cNvPr>
          <p:cNvSpPr txBox="1">
            <a:spLocks/>
          </p:cNvSpPr>
          <p:nvPr/>
        </p:nvSpPr>
        <p:spPr>
          <a:xfrm>
            <a:off x="251524" y="1052963"/>
            <a:ext cx="8640950" cy="36512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kumimoji="1" lang="ja-JP" altLang="en-US" sz="1800"/>
              <a:t>画面イメージ</a:t>
            </a:r>
            <a:endParaRPr kumimoji="1" lang="en-US" altLang="zh-TW"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28" name="スライド番号プレースホルダー 1">
            <a:extLst>
              <a:ext uri="{FF2B5EF4-FFF2-40B4-BE49-F238E27FC236}">
                <a16:creationId xmlns:a16="http://schemas.microsoft.com/office/drawing/2014/main" id="{B45C7C43-84BC-EB68-B34A-AAE39F6D8E9C}"/>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29</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91" name="正方形/長方形 90">
            <a:extLst>
              <a:ext uri="{FF2B5EF4-FFF2-40B4-BE49-F238E27FC236}">
                <a16:creationId xmlns:a16="http://schemas.microsoft.com/office/drawing/2014/main" id="{6CE6E245-6D90-A273-F2A0-D60BE5CDAECB}"/>
              </a:ext>
            </a:extLst>
          </p:cNvPr>
          <p:cNvSpPr/>
          <p:nvPr/>
        </p:nvSpPr>
        <p:spPr>
          <a:xfrm>
            <a:off x="255605" y="1418087"/>
            <a:ext cx="8665427" cy="25841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FFFFFF"/>
                </a:solidFill>
                <a:effectLst/>
                <a:uLnTx/>
                <a:uFillTx/>
                <a:latin typeface="Arial"/>
                <a:ea typeface="游ゴシック Medium"/>
                <a:cs typeface="+mn-cs"/>
              </a:rPr>
              <a:t>マスタ（事業所ルート）イメージ　　　　</a:t>
            </a:r>
          </a:p>
        </p:txBody>
      </p:sp>
      <p:sp>
        <p:nvSpPr>
          <p:cNvPr id="92" name="正方形/長方形 91">
            <a:extLst>
              <a:ext uri="{FF2B5EF4-FFF2-40B4-BE49-F238E27FC236}">
                <a16:creationId xmlns:a16="http://schemas.microsoft.com/office/drawing/2014/main" id="{FB29D3D2-993B-758A-AE64-338460FA6218}"/>
              </a:ext>
            </a:extLst>
          </p:cNvPr>
          <p:cNvSpPr/>
          <p:nvPr/>
        </p:nvSpPr>
        <p:spPr>
          <a:xfrm>
            <a:off x="7184454" y="1499045"/>
            <a:ext cx="1711088" cy="17346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700" b="0" i="0" u="none" strike="noStrike" kern="0" cap="none" spc="0" normalizeH="0" baseline="0" noProof="0">
                <a:ln>
                  <a:noFill/>
                </a:ln>
                <a:solidFill>
                  <a:srgbClr val="FFFFFF"/>
                </a:solidFill>
                <a:effectLst/>
                <a:uLnTx/>
                <a:uFillTx/>
                <a:latin typeface="Arial"/>
                <a:ea typeface="游ゴシック Medium"/>
                <a:cs typeface="+mn-cs"/>
              </a:rPr>
              <a:t>※</a:t>
            </a:r>
            <a:r>
              <a:rPr kumimoji="0" lang="ja-JP" altLang="en-US" sz="700" b="0" i="0" u="none" strike="noStrike" kern="0" cap="none" spc="0" normalizeH="0" baseline="0" noProof="0">
                <a:ln>
                  <a:noFill/>
                </a:ln>
                <a:solidFill>
                  <a:srgbClr val="FFFFFF"/>
                </a:solidFill>
                <a:effectLst/>
                <a:uLnTx/>
                <a:uFillTx/>
                <a:latin typeface="Arial"/>
                <a:ea typeface="游ゴシック Medium"/>
                <a:cs typeface="+mn-cs"/>
              </a:rPr>
              <a:t>現行システムの参考画面です</a:t>
            </a:r>
            <a:endParaRPr kumimoji="0" lang="ja-JP" altLang="en-US" sz="1100" b="0" i="0" u="none" strike="noStrike" kern="0" cap="none" spc="0" normalizeH="0" baseline="0" noProof="0">
              <a:ln>
                <a:noFill/>
              </a:ln>
              <a:solidFill>
                <a:srgbClr val="FFFFFF"/>
              </a:solidFill>
              <a:effectLst/>
              <a:uLnTx/>
              <a:uFillTx/>
              <a:latin typeface="Arial"/>
              <a:ea typeface="游ゴシック Medium"/>
              <a:cs typeface="+mn-cs"/>
            </a:endParaRPr>
          </a:p>
        </p:txBody>
      </p:sp>
      <p:pic>
        <p:nvPicPr>
          <p:cNvPr id="6" name="図 5">
            <a:extLst>
              <a:ext uri="{FF2B5EF4-FFF2-40B4-BE49-F238E27FC236}">
                <a16:creationId xmlns:a16="http://schemas.microsoft.com/office/drawing/2014/main" id="{5DC51C58-A379-5905-22B8-10273B7047CB}"/>
              </a:ext>
            </a:extLst>
          </p:cNvPr>
          <p:cNvPicPr>
            <a:picLocks noChangeAspect="1"/>
          </p:cNvPicPr>
          <p:nvPr/>
        </p:nvPicPr>
        <p:blipFill rotWithShape="1">
          <a:blip r:embed="rId5"/>
          <a:srcRect r="19341"/>
          <a:stretch/>
        </p:blipFill>
        <p:spPr>
          <a:xfrm>
            <a:off x="429476" y="1747426"/>
            <a:ext cx="2475997" cy="4403540"/>
          </a:xfrm>
          <a:prstGeom prst="rect">
            <a:avLst/>
          </a:prstGeom>
        </p:spPr>
      </p:pic>
      <p:sp>
        <p:nvSpPr>
          <p:cNvPr id="15" name="正方形/長方形 14">
            <a:extLst>
              <a:ext uri="{FF2B5EF4-FFF2-40B4-BE49-F238E27FC236}">
                <a16:creationId xmlns:a16="http://schemas.microsoft.com/office/drawing/2014/main" id="{6CE761F2-6FD4-5292-3385-FD59CC7BABC4}"/>
              </a:ext>
            </a:extLst>
          </p:cNvPr>
          <p:cNvSpPr/>
          <p:nvPr/>
        </p:nvSpPr>
        <p:spPr>
          <a:xfrm>
            <a:off x="3273190" y="1747427"/>
            <a:ext cx="1221633" cy="3261600"/>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u="sng" kern="0">
                <a:solidFill>
                  <a:srgbClr val="000000"/>
                </a:solidFill>
                <a:latin typeface="+mn-ea"/>
              </a:rPr>
              <a:t>マスタ（事業所ルート）</a:t>
            </a:r>
            <a:r>
              <a:rPr kumimoji="0" lang="ja-JP" altLang="en-US" sz="1200" b="0" i="0" u="sng" strike="noStrike" kern="0" cap="none" spc="0" normalizeH="0" baseline="0" noProof="0">
                <a:ln>
                  <a:noFill/>
                </a:ln>
                <a:solidFill>
                  <a:srgbClr val="000000"/>
                </a:solidFill>
                <a:effectLst/>
                <a:uLnTx/>
                <a:uFillTx/>
                <a:latin typeface="+mn-ea"/>
                <a:cs typeface="+mn-cs"/>
              </a:rPr>
              <a:t>を入力する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20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kern="0">
                <a:solidFill>
                  <a:srgbClr val="000000"/>
                </a:solidFill>
                <a:latin typeface="+mn-ea"/>
              </a:rPr>
              <a:t>窓口の有無を選択できる機能</a:t>
            </a:r>
            <a:endParaRPr kumimoji="0" lang="en-US" altLang="ja-JP" sz="1100" kern="0">
              <a:solidFill>
                <a:srgbClr val="000000"/>
              </a:solidFill>
              <a:latin typeface="+mn-ea"/>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0" cap="none" spc="0" normalizeH="0" baseline="0" noProof="0">
                <a:ln>
                  <a:noFill/>
                </a:ln>
                <a:solidFill>
                  <a:srgbClr val="000000"/>
                </a:solidFill>
                <a:effectLst/>
                <a:uLnTx/>
                <a:uFillTx/>
                <a:latin typeface="+mn-ea"/>
                <a:cs typeface="+mn-cs"/>
              </a:rPr>
              <a:t>審査・確認者を登録できる機能</a:t>
            </a: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050" b="0" i="0" u="none" strike="noStrike" kern="0" cap="none" spc="0" normalizeH="0" baseline="0" noProof="0">
              <a:ln>
                <a:noFill/>
              </a:ln>
              <a:solidFill>
                <a:srgbClr val="000000"/>
              </a:solidFill>
              <a:effectLst/>
              <a:uLnTx/>
              <a:uFillTx/>
              <a:latin typeface="+mn-ea"/>
              <a:cs typeface="+mn-cs"/>
            </a:endParaRPr>
          </a:p>
        </p:txBody>
      </p:sp>
      <p:sp>
        <p:nvSpPr>
          <p:cNvPr id="16" name="正方形/長方形 15">
            <a:extLst>
              <a:ext uri="{FF2B5EF4-FFF2-40B4-BE49-F238E27FC236}">
                <a16:creationId xmlns:a16="http://schemas.microsoft.com/office/drawing/2014/main" id="{87E780FC-0ECE-7FBA-2CF6-49868CFBF8CE}"/>
              </a:ext>
            </a:extLst>
          </p:cNvPr>
          <p:cNvSpPr/>
          <p:nvPr/>
        </p:nvSpPr>
        <p:spPr>
          <a:xfrm>
            <a:off x="7667625" y="1747427"/>
            <a:ext cx="1295401" cy="1458946"/>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u="sng" kern="0">
                <a:solidFill>
                  <a:srgbClr val="000000"/>
                </a:solidFill>
                <a:latin typeface="+mn-ea"/>
              </a:rPr>
              <a:t>マスタ（事業所ルート）</a:t>
            </a:r>
            <a:r>
              <a:rPr kumimoji="0" lang="ja-JP" altLang="en-US" sz="1200" b="0" i="0" u="sng" strike="noStrike" kern="0" cap="none" spc="0" normalizeH="0" baseline="0" noProof="0">
                <a:ln>
                  <a:noFill/>
                </a:ln>
                <a:solidFill>
                  <a:srgbClr val="000000"/>
                </a:solidFill>
                <a:effectLst/>
                <a:uLnTx/>
                <a:uFillTx/>
                <a:latin typeface="+mn-ea"/>
                <a:cs typeface="+mn-cs"/>
              </a:rPr>
              <a:t>を入力する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20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kern="0">
                <a:solidFill>
                  <a:srgbClr val="000000"/>
                </a:solidFill>
                <a:latin typeface="+mn-ea"/>
              </a:rPr>
              <a:t>窓口の有無を選択できる機能</a:t>
            </a:r>
            <a:endParaRPr kumimoji="0" lang="en-US" altLang="ja-JP" sz="1100" kern="0">
              <a:solidFill>
                <a:srgbClr val="000000"/>
              </a:solidFill>
              <a:latin typeface="+mn-ea"/>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0" cap="none" spc="0" normalizeH="0" baseline="0" noProof="0">
                <a:ln>
                  <a:noFill/>
                </a:ln>
                <a:solidFill>
                  <a:srgbClr val="000000"/>
                </a:solidFill>
                <a:effectLst/>
                <a:uLnTx/>
                <a:uFillTx/>
                <a:latin typeface="+mn-ea"/>
                <a:cs typeface="+mn-cs"/>
              </a:rPr>
              <a:t>審査・確認者を登録できる機能</a:t>
            </a: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05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050" b="0" i="0" u="none" strike="noStrike" kern="0" cap="none" spc="0" normalizeH="0" baseline="0" noProof="0">
              <a:ln>
                <a:noFill/>
              </a:ln>
              <a:solidFill>
                <a:srgbClr val="000000"/>
              </a:solidFill>
              <a:effectLst/>
              <a:uLnTx/>
              <a:uFillTx/>
              <a:latin typeface="+mn-ea"/>
              <a:cs typeface="+mn-cs"/>
            </a:endParaRPr>
          </a:p>
        </p:txBody>
      </p:sp>
      <p:sp>
        <p:nvSpPr>
          <p:cNvPr id="17" name="吹き出し: 線 (枠付き、強調線付き) 16">
            <a:extLst>
              <a:ext uri="{FF2B5EF4-FFF2-40B4-BE49-F238E27FC236}">
                <a16:creationId xmlns:a16="http://schemas.microsoft.com/office/drawing/2014/main" id="{8C609A70-D615-0BE6-EF8D-3297FBC1926F}"/>
              </a:ext>
            </a:extLst>
          </p:cNvPr>
          <p:cNvSpPr/>
          <p:nvPr/>
        </p:nvSpPr>
        <p:spPr>
          <a:xfrm>
            <a:off x="439623" y="1747426"/>
            <a:ext cx="2465851" cy="4739097"/>
          </a:xfrm>
          <a:prstGeom prst="accentBorderCallout1">
            <a:avLst>
              <a:gd name="adj1" fmla="val 5862"/>
              <a:gd name="adj2" fmla="val 104338"/>
              <a:gd name="adj3" fmla="val 5781"/>
              <a:gd name="adj4" fmla="val 116099"/>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18" name="吹き出し: 線 (枠付き、強調線付き) 17">
            <a:extLst>
              <a:ext uri="{FF2B5EF4-FFF2-40B4-BE49-F238E27FC236}">
                <a16:creationId xmlns:a16="http://schemas.microsoft.com/office/drawing/2014/main" id="{E81D0158-D8BB-FAF3-69CE-3D82EF77C569}"/>
              </a:ext>
            </a:extLst>
          </p:cNvPr>
          <p:cNvSpPr/>
          <p:nvPr/>
        </p:nvSpPr>
        <p:spPr>
          <a:xfrm>
            <a:off x="4862540" y="1747426"/>
            <a:ext cx="2524209" cy="4846607"/>
          </a:xfrm>
          <a:prstGeom prst="accentBorderCallout1">
            <a:avLst>
              <a:gd name="adj1" fmla="val 12854"/>
              <a:gd name="adj2" fmla="val 104338"/>
              <a:gd name="adj3" fmla="val 12773"/>
              <a:gd name="adj4" fmla="val 113164"/>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pic>
        <p:nvPicPr>
          <p:cNvPr id="19" name="図 18">
            <a:extLst>
              <a:ext uri="{FF2B5EF4-FFF2-40B4-BE49-F238E27FC236}">
                <a16:creationId xmlns:a16="http://schemas.microsoft.com/office/drawing/2014/main" id="{9D224387-4217-8F55-82FF-8570D2FC9F73}"/>
              </a:ext>
            </a:extLst>
          </p:cNvPr>
          <p:cNvPicPr>
            <a:picLocks noChangeAspect="1"/>
          </p:cNvPicPr>
          <p:nvPr/>
        </p:nvPicPr>
        <p:blipFill rotWithShape="1">
          <a:blip r:embed="rId6"/>
          <a:srcRect r="19164"/>
          <a:stretch/>
        </p:blipFill>
        <p:spPr>
          <a:xfrm>
            <a:off x="4890357" y="1779580"/>
            <a:ext cx="2465851" cy="4397496"/>
          </a:xfrm>
          <a:prstGeom prst="rect">
            <a:avLst/>
          </a:prstGeom>
        </p:spPr>
      </p:pic>
      <p:pic>
        <p:nvPicPr>
          <p:cNvPr id="20" name="図 19">
            <a:extLst>
              <a:ext uri="{FF2B5EF4-FFF2-40B4-BE49-F238E27FC236}">
                <a16:creationId xmlns:a16="http://schemas.microsoft.com/office/drawing/2014/main" id="{B84965FB-A7C6-0D54-5A65-25899438EC14}"/>
              </a:ext>
            </a:extLst>
          </p:cNvPr>
          <p:cNvPicPr>
            <a:picLocks noChangeAspect="1"/>
          </p:cNvPicPr>
          <p:nvPr/>
        </p:nvPicPr>
        <p:blipFill rotWithShape="1">
          <a:blip r:embed="rId7"/>
          <a:srcRect r="9798" b="-16004"/>
          <a:stretch/>
        </p:blipFill>
        <p:spPr>
          <a:xfrm>
            <a:off x="4890357" y="6177076"/>
            <a:ext cx="2465850" cy="416958"/>
          </a:xfrm>
          <a:prstGeom prst="rect">
            <a:avLst/>
          </a:prstGeom>
        </p:spPr>
      </p:pic>
    </p:spTree>
    <p:extLst>
      <p:ext uri="{BB962C8B-B14F-4D97-AF65-F5344CB8AC3E}">
        <p14:creationId xmlns:p14="http://schemas.microsoft.com/office/powerpoint/2010/main" val="232356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CF1F410-5184-899E-B5E0-8F3C15E8CB80}"/>
              </a:ext>
            </a:extLst>
          </p:cNvPr>
          <p:cNvGraphicFramePr>
            <a:graphicFrameLocks noChangeAspect="1"/>
          </p:cNvGraphicFramePr>
          <p:nvPr>
            <p:custDataLst>
              <p:tags r:id="rId1"/>
            </p:custDataLst>
            <p:extLst>
              <p:ext uri="{D42A27DB-BD31-4B8C-83A1-F6EECF244321}">
                <p14:modId xmlns:p14="http://schemas.microsoft.com/office/powerpoint/2010/main" val="3956116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6" name="think-cell data - do not delete" hidden="1">
                        <a:extLst>
                          <a:ext uri="{FF2B5EF4-FFF2-40B4-BE49-F238E27FC236}">
                            <a16:creationId xmlns:a16="http://schemas.microsoft.com/office/drawing/2014/main" id="{1CF1F410-5184-899E-B5E0-8F3C15E8CB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45B6C1CE-AE6D-F867-1DAC-14F72423643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4" name="タイトル 3">
            <a:extLst>
              <a:ext uri="{FF2B5EF4-FFF2-40B4-BE49-F238E27FC236}">
                <a16:creationId xmlns:a16="http://schemas.microsoft.com/office/drawing/2014/main" id="{599FFCD3-4840-7D8A-EC3F-3642D5887971}"/>
              </a:ext>
            </a:extLst>
          </p:cNvPr>
          <p:cNvSpPr>
            <a:spLocks noGrp="1"/>
          </p:cNvSpPr>
          <p:nvPr>
            <p:ph type="title"/>
          </p:nvPr>
        </p:nvSpPr>
        <p:spPr>
          <a:xfrm>
            <a:off x="251519" y="263966"/>
            <a:ext cx="6932935" cy="523220"/>
          </a:xfrm>
        </p:spPr>
        <p:txBody>
          <a:bodyPr vert="horz"/>
          <a:lstStyle/>
          <a:p>
            <a:r>
              <a:rPr kumimoji="1" lang="ja-JP" altLang="en-US"/>
              <a:t>１．業務要件</a:t>
            </a:r>
          </a:p>
        </p:txBody>
      </p:sp>
      <p:graphicFrame>
        <p:nvGraphicFramePr>
          <p:cNvPr id="9" name="表 7">
            <a:extLst>
              <a:ext uri="{FF2B5EF4-FFF2-40B4-BE49-F238E27FC236}">
                <a16:creationId xmlns:a16="http://schemas.microsoft.com/office/drawing/2014/main" id="{4489B312-54C6-AE32-AC61-F70E865CA9E9}"/>
              </a:ext>
            </a:extLst>
          </p:cNvPr>
          <p:cNvGraphicFramePr>
            <a:graphicFrameLocks noGrp="1"/>
          </p:cNvGraphicFramePr>
          <p:nvPr>
            <p:extLst>
              <p:ext uri="{D42A27DB-BD31-4B8C-83A1-F6EECF244321}">
                <p14:modId xmlns:p14="http://schemas.microsoft.com/office/powerpoint/2010/main" val="239988979"/>
              </p:ext>
            </p:extLst>
          </p:nvPr>
        </p:nvGraphicFramePr>
        <p:xfrm>
          <a:off x="107501" y="1418089"/>
          <a:ext cx="8640949" cy="5076535"/>
        </p:xfrm>
        <a:graphic>
          <a:graphicData uri="http://schemas.openxmlformats.org/drawingml/2006/table">
            <a:tbl>
              <a:tblPr firstRow="1" bandRow="1">
                <a:tableStyleId>{5C22544A-7EE6-4342-B048-85BDC9FD1C3A}</a:tableStyleId>
              </a:tblPr>
              <a:tblGrid>
                <a:gridCol w="406849">
                  <a:extLst>
                    <a:ext uri="{9D8B030D-6E8A-4147-A177-3AD203B41FA5}">
                      <a16:colId xmlns:a16="http://schemas.microsoft.com/office/drawing/2014/main" val="2738723109"/>
                    </a:ext>
                  </a:extLst>
                </a:gridCol>
                <a:gridCol w="1933575">
                  <a:extLst>
                    <a:ext uri="{9D8B030D-6E8A-4147-A177-3AD203B41FA5}">
                      <a16:colId xmlns:a16="http://schemas.microsoft.com/office/drawing/2014/main" val="55771545"/>
                    </a:ext>
                  </a:extLst>
                </a:gridCol>
                <a:gridCol w="6300525">
                  <a:extLst>
                    <a:ext uri="{9D8B030D-6E8A-4147-A177-3AD203B41FA5}">
                      <a16:colId xmlns:a16="http://schemas.microsoft.com/office/drawing/2014/main" val="1027567464"/>
                    </a:ext>
                  </a:extLst>
                </a:gridCol>
              </a:tblGrid>
              <a:tr h="256694">
                <a:tc>
                  <a:txBody>
                    <a:bodyPr/>
                    <a:lstStyle/>
                    <a:p>
                      <a:pPr algn="l"/>
                      <a:r>
                        <a:rPr kumimoji="1" lang="en-US" altLang="ja-JP" sz="1200"/>
                        <a:t>#</a:t>
                      </a:r>
                      <a:endParaRPr kumimoji="1" lang="ja-JP" altLang="en-US" sz="1200"/>
                    </a:p>
                  </a:txBody>
                  <a:tcPr>
                    <a:solidFill>
                      <a:schemeClr val="accent1"/>
                    </a:solidFill>
                  </a:tcPr>
                </a:tc>
                <a:tc>
                  <a:txBody>
                    <a:bodyPr/>
                    <a:lstStyle/>
                    <a:p>
                      <a:pPr algn="l"/>
                      <a:r>
                        <a:rPr kumimoji="1" lang="ja-JP" altLang="en-US" sz="1200"/>
                        <a:t>業務</a:t>
                      </a:r>
                    </a:p>
                  </a:txBody>
                  <a:tcPr>
                    <a:solidFill>
                      <a:schemeClr val="accent1"/>
                    </a:solidFill>
                  </a:tcPr>
                </a:tc>
                <a:tc>
                  <a:txBody>
                    <a:bodyPr/>
                    <a:lstStyle/>
                    <a:p>
                      <a:pPr algn="l"/>
                      <a:r>
                        <a:rPr kumimoji="1" lang="ja-JP" altLang="en-US" sz="1200"/>
                        <a:t>概要</a:t>
                      </a:r>
                    </a:p>
                  </a:txBody>
                  <a:tcPr/>
                </a:tc>
                <a:extLst>
                  <a:ext uri="{0D108BD9-81ED-4DB2-BD59-A6C34878D82A}">
                    <a16:rowId xmlns:a16="http://schemas.microsoft.com/office/drawing/2014/main" val="2838924240"/>
                  </a:ext>
                </a:extLst>
              </a:tr>
              <a:tr h="436565">
                <a:tc>
                  <a:txBody>
                    <a:bodyPr/>
                    <a:lstStyle/>
                    <a:p>
                      <a:pPr algn="l"/>
                      <a:r>
                        <a:rPr kumimoji="1" lang="en-US" altLang="ja-JP" sz="1100" b="1">
                          <a:solidFill>
                            <a:schemeClr val="bg1"/>
                          </a:solidFill>
                        </a:rPr>
                        <a:t>a</a:t>
                      </a:r>
                      <a:endParaRPr kumimoji="1" lang="ja-JP" altLang="en-US" sz="1100" b="1">
                        <a:solidFill>
                          <a:schemeClr val="bg1"/>
                        </a:solidFill>
                      </a:endParaRPr>
                    </a:p>
                  </a:txBody>
                  <a:tcPr>
                    <a:solidFill>
                      <a:schemeClr val="accent1"/>
                    </a:solidFill>
                  </a:tcPr>
                </a:tc>
                <a:tc>
                  <a:txBody>
                    <a:bodyPr/>
                    <a:lstStyle/>
                    <a:p>
                      <a:pPr algn="l"/>
                      <a:r>
                        <a:rPr kumimoji="1" lang="zh-TW" altLang="en-US" sz="1100" b="1">
                          <a:solidFill>
                            <a:schemeClr val="bg1"/>
                          </a:solidFill>
                        </a:rPr>
                        <a:t>納入仕様書作成</a:t>
                      </a:r>
                      <a:r>
                        <a:rPr kumimoji="1" lang="en-US" altLang="zh-TW" sz="1100" b="1">
                          <a:solidFill>
                            <a:schemeClr val="bg1"/>
                          </a:solidFill>
                        </a:rPr>
                        <a:t>/</a:t>
                      </a:r>
                      <a:r>
                        <a:rPr kumimoji="1" lang="zh-TW" altLang="en-US" sz="1100" b="1">
                          <a:solidFill>
                            <a:schemeClr val="bg1"/>
                          </a:solidFill>
                        </a:rPr>
                        <a:t>改訂</a:t>
                      </a:r>
                      <a:r>
                        <a:rPr kumimoji="1" lang="ja-JP" altLang="en-US" sz="1100" b="1">
                          <a:solidFill>
                            <a:schemeClr val="bg1"/>
                          </a:solidFill>
                        </a:rPr>
                        <a:t>（</a:t>
                      </a:r>
                      <a:r>
                        <a:rPr kumimoji="1" lang="en-US" altLang="ja-JP" sz="1100" b="1">
                          <a:solidFill>
                            <a:schemeClr val="bg1"/>
                          </a:solidFill>
                        </a:rPr>
                        <a:t>WF</a:t>
                      </a:r>
                      <a:r>
                        <a:rPr kumimoji="1" lang="ja-JP" altLang="en-US" sz="1100" b="1">
                          <a:solidFill>
                            <a:schemeClr val="bg1"/>
                          </a:solidFill>
                        </a:rPr>
                        <a:t>あり）</a:t>
                      </a:r>
                    </a:p>
                  </a:txBody>
                  <a:tcPr>
                    <a:solidFill>
                      <a:schemeClr val="accent1"/>
                    </a:solidFill>
                  </a:tcPr>
                </a:tc>
                <a:tc>
                  <a:txBody>
                    <a:bodyPr/>
                    <a:lstStyle/>
                    <a:p>
                      <a:pPr marL="171450" indent="-171450" algn="l">
                        <a:buFont typeface="Arial" panose="020B0604020202020204" pitchFamily="34" charset="0"/>
                        <a:buChar char="•"/>
                      </a:pPr>
                      <a:r>
                        <a:rPr kumimoji="1" lang="ja-JP" altLang="en-US" sz="1100"/>
                        <a:t>ワークフロー機能を用いて、新規</a:t>
                      </a:r>
                      <a:r>
                        <a:rPr kumimoji="1" lang="en-US" altLang="ja-JP" sz="1100"/>
                        <a:t>/</a:t>
                      </a:r>
                      <a:r>
                        <a:rPr kumimoji="1" lang="ja-JP" altLang="en-US" sz="1100"/>
                        <a:t>改訂で納入仕様書を作成する業務</a:t>
                      </a:r>
                    </a:p>
                  </a:txBody>
                  <a:tcPr/>
                </a:tc>
                <a:extLst>
                  <a:ext uri="{0D108BD9-81ED-4DB2-BD59-A6C34878D82A}">
                    <a16:rowId xmlns:a16="http://schemas.microsoft.com/office/drawing/2014/main" val="3028206946"/>
                  </a:ext>
                </a:extLst>
              </a:tr>
              <a:tr h="436565">
                <a:tc>
                  <a:txBody>
                    <a:bodyPr/>
                    <a:lstStyle/>
                    <a:p>
                      <a:pPr algn="l"/>
                      <a:r>
                        <a:rPr kumimoji="1" lang="en-US" altLang="ja-JP" sz="1100" b="1">
                          <a:solidFill>
                            <a:schemeClr val="bg1"/>
                          </a:solidFill>
                        </a:rPr>
                        <a:t>b</a:t>
                      </a:r>
                      <a:endParaRPr kumimoji="1" lang="ja-JP" altLang="en-US" sz="1100" b="1">
                        <a:solidFill>
                          <a:schemeClr val="bg1"/>
                        </a:solidFill>
                      </a:endParaRPr>
                    </a:p>
                  </a:txBody>
                  <a:tcPr>
                    <a:solidFill>
                      <a:schemeClr val="accent1"/>
                    </a:solidFill>
                  </a:tcPr>
                </a:tc>
                <a:tc>
                  <a:txBody>
                    <a:bodyPr/>
                    <a:lstStyle/>
                    <a:p>
                      <a:pPr algn="l"/>
                      <a:r>
                        <a:rPr kumimoji="1" lang="ja-JP" altLang="en-US" sz="1100" b="1">
                          <a:solidFill>
                            <a:schemeClr val="bg1"/>
                          </a:solidFill>
                        </a:rPr>
                        <a:t>納入仕様書締結済</a:t>
                      </a:r>
                      <a:r>
                        <a:rPr kumimoji="1" lang="en-US" altLang="ja-JP" sz="1100" b="1">
                          <a:solidFill>
                            <a:schemeClr val="bg1"/>
                          </a:solidFill>
                        </a:rPr>
                        <a:t>/</a:t>
                      </a:r>
                      <a:r>
                        <a:rPr kumimoji="1" lang="ja-JP" altLang="en-US" sz="1100" b="1">
                          <a:solidFill>
                            <a:schemeClr val="bg1"/>
                          </a:solidFill>
                        </a:rPr>
                        <a:t>契約不成立</a:t>
                      </a:r>
                      <a:r>
                        <a:rPr kumimoji="1" lang="en-US" altLang="ja-JP" sz="1100" b="1">
                          <a:solidFill>
                            <a:schemeClr val="bg1"/>
                          </a:solidFill>
                        </a:rPr>
                        <a:t>/</a:t>
                      </a:r>
                      <a:r>
                        <a:rPr kumimoji="1" lang="ja-JP" altLang="en-US" sz="1100" b="1">
                          <a:solidFill>
                            <a:schemeClr val="bg1"/>
                          </a:solidFill>
                        </a:rPr>
                        <a:t>改訂（</a:t>
                      </a:r>
                      <a:r>
                        <a:rPr kumimoji="1" lang="en-US" altLang="ja-JP" sz="1100" b="1">
                          <a:solidFill>
                            <a:schemeClr val="bg1"/>
                          </a:solidFill>
                        </a:rPr>
                        <a:t>WF</a:t>
                      </a:r>
                      <a:r>
                        <a:rPr kumimoji="1" lang="ja-JP" altLang="en-US" sz="1100" b="1">
                          <a:solidFill>
                            <a:schemeClr val="bg1"/>
                          </a:solidFill>
                        </a:rPr>
                        <a:t>なし）</a:t>
                      </a:r>
                    </a:p>
                  </a:txBody>
                  <a:tcPr>
                    <a:solidFill>
                      <a:schemeClr val="accent1"/>
                    </a:solidFill>
                  </a:tcPr>
                </a:tc>
                <a:tc>
                  <a:txBody>
                    <a:bodyPr/>
                    <a:lstStyle/>
                    <a:p>
                      <a:pPr marL="171450" indent="-171450" algn="l">
                        <a:buFont typeface="Arial" panose="020B0604020202020204" pitchFamily="34" charset="0"/>
                        <a:buChar char="•"/>
                      </a:pPr>
                      <a:r>
                        <a:rPr kumimoji="1" lang="ja-JP" altLang="en-US" sz="1100"/>
                        <a:t>すでに顧客と取り交わし済みの納入仕様書や納入仕様書の改訂をワークフロー不要で登録する業務</a:t>
                      </a:r>
                      <a:endParaRPr kumimoji="1" lang="en-US" altLang="ja-JP" sz="1100"/>
                    </a:p>
                  </a:txBody>
                  <a:tcPr/>
                </a:tc>
                <a:extLst>
                  <a:ext uri="{0D108BD9-81ED-4DB2-BD59-A6C34878D82A}">
                    <a16:rowId xmlns:a16="http://schemas.microsoft.com/office/drawing/2014/main" val="1928206092"/>
                  </a:ext>
                </a:extLst>
              </a:tr>
              <a:tr h="436565">
                <a:tc>
                  <a:txBody>
                    <a:bodyPr/>
                    <a:lstStyle/>
                    <a:p>
                      <a:pPr algn="l"/>
                      <a:r>
                        <a:rPr kumimoji="1" lang="en-US" altLang="ja-JP" sz="1100" b="1">
                          <a:solidFill>
                            <a:schemeClr val="bg1"/>
                          </a:solidFill>
                        </a:rPr>
                        <a:t>c</a:t>
                      </a:r>
                      <a:endParaRPr kumimoji="1" lang="ja-JP" altLang="en-US" sz="1100" b="1">
                        <a:solidFill>
                          <a:schemeClr val="bg1"/>
                        </a:solidFill>
                      </a:endParaRPr>
                    </a:p>
                  </a:txBody>
                  <a:tcPr>
                    <a:solidFill>
                      <a:schemeClr val="accent1"/>
                    </a:solidFill>
                  </a:tcPr>
                </a:tc>
                <a:tc>
                  <a:txBody>
                    <a:bodyPr/>
                    <a:lstStyle/>
                    <a:p>
                      <a:pPr algn="l"/>
                      <a:r>
                        <a:rPr kumimoji="1" lang="ja-JP" altLang="en-US" sz="1100" b="1">
                          <a:solidFill>
                            <a:schemeClr val="bg1"/>
                          </a:solidFill>
                        </a:rPr>
                        <a:t>製品規格書作成</a:t>
                      </a:r>
                    </a:p>
                  </a:txBody>
                  <a:tcPr>
                    <a:solidFill>
                      <a:schemeClr val="accent1"/>
                    </a:solidFill>
                  </a:tcPr>
                </a:tc>
                <a:tc>
                  <a:txBody>
                    <a:bodyPr/>
                    <a:lstStyle/>
                    <a:p>
                      <a:pPr marL="171450" indent="-171450" algn="l">
                        <a:buFont typeface="Arial" panose="020B0604020202020204" pitchFamily="34" charset="0"/>
                        <a:buChar char="•"/>
                      </a:pPr>
                      <a:r>
                        <a:rPr kumimoji="1" lang="ja-JP" altLang="en-US" sz="1100"/>
                        <a:t>製品規格書を作成する業務</a:t>
                      </a:r>
                      <a:endParaRPr kumimoji="1" lang="en-US" altLang="ja-JP" sz="1100"/>
                    </a:p>
                  </a:txBody>
                  <a:tcPr/>
                </a:tc>
                <a:extLst>
                  <a:ext uri="{0D108BD9-81ED-4DB2-BD59-A6C34878D82A}">
                    <a16:rowId xmlns:a16="http://schemas.microsoft.com/office/drawing/2014/main" val="4039432576"/>
                  </a:ext>
                </a:extLst>
              </a:tr>
              <a:tr h="436565">
                <a:tc>
                  <a:txBody>
                    <a:bodyPr/>
                    <a:lstStyle/>
                    <a:p>
                      <a:pPr algn="l"/>
                      <a:r>
                        <a:rPr kumimoji="1" lang="en-US" altLang="ja-JP" sz="1100" b="1">
                          <a:solidFill>
                            <a:schemeClr val="bg1"/>
                          </a:solidFill>
                        </a:rPr>
                        <a:t>d</a:t>
                      </a:r>
                      <a:endParaRPr kumimoji="1" lang="ja-JP" altLang="en-US" sz="1100" b="1">
                        <a:solidFill>
                          <a:schemeClr val="bg1"/>
                        </a:solidFill>
                      </a:endParaRPr>
                    </a:p>
                  </a:txBody>
                  <a:tcPr>
                    <a:solidFill>
                      <a:schemeClr val="accent1"/>
                    </a:solidFill>
                  </a:tcPr>
                </a:tc>
                <a:tc>
                  <a:txBody>
                    <a:bodyPr/>
                    <a:lstStyle/>
                    <a:p>
                      <a:pPr algn="l"/>
                      <a:r>
                        <a:rPr kumimoji="1" lang="ja-JP" altLang="en-US" sz="1100" b="1">
                          <a:solidFill>
                            <a:schemeClr val="bg1"/>
                          </a:solidFill>
                        </a:rPr>
                        <a:t>文書メンテナンス</a:t>
                      </a:r>
                    </a:p>
                  </a:txBody>
                  <a:tcPr>
                    <a:solidFill>
                      <a:schemeClr val="accent1"/>
                    </a:solidFill>
                  </a:tcPr>
                </a:tc>
                <a:tc>
                  <a:txBody>
                    <a:bodyPr/>
                    <a:lstStyle/>
                    <a:p>
                      <a:pPr marL="171450" indent="-171450" algn="l">
                        <a:buFont typeface="Arial" panose="020B0604020202020204" pitchFamily="34" charset="0"/>
                        <a:buChar char="•"/>
                      </a:pPr>
                      <a:r>
                        <a:rPr kumimoji="1" lang="ja-JP" altLang="en-US" sz="1100"/>
                        <a:t>文書情報を変更する業務</a:t>
                      </a:r>
                    </a:p>
                  </a:txBody>
                  <a:tcPr/>
                </a:tc>
                <a:extLst>
                  <a:ext uri="{0D108BD9-81ED-4DB2-BD59-A6C34878D82A}">
                    <a16:rowId xmlns:a16="http://schemas.microsoft.com/office/drawing/2014/main" val="1613863121"/>
                  </a:ext>
                </a:extLst>
              </a:tr>
              <a:tr h="436565">
                <a:tc>
                  <a:txBody>
                    <a:bodyPr/>
                    <a:lstStyle/>
                    <a:p>
                      <a:pPr algn="l"/>
                      <a:r>
                        <a:rPr kumimoji="1" lang="en-US" altLang="ja-JP" sz="1100" b="1">
                          <a:solidFill>
                            <a:schemeClr val="bg1"/>
                          </a:solidFill>
                        </a:rPr>
                        <a:t>e</a:t>
                      </a:r>
                      <a:endParaRPr kumimoji="1" lang="ja-JP" altLang="en-US" sz="1100" b="1">
                        <a:solidFill>
                          <a:schemeClr val="bg1"/>
                        </a:solidFill>
                      </a:endParaRPr>
                    </a:p>
                  </a:txBody>
                  <a:tcPr>
                    <a:solidFill>
                      <a:schemeClr val="accent1"/>
                    </a:solidFill>
                  </a:tcPr>
                </a:tc>
                <a:tc>
                  <a:txBody>
                    <a:bodyPr/>
                    <a:lstStyle/>
                    <a:p>
                      <a:pPr algn="l"/>
                      <a:r>
                        <a:rPr kumimoji="1" lang="ja-JP" altLang="en-US" sz="1100" b="1">
                          <a:solidFill>
                            <a:schemeClr val="bg1"/>
                          </a:solidFill>
                        </a:rPr>
                        <a:t>マスタ管理</a:t>
                      </a:r>
                    </a:p>
                  </a:txBody>
                  <a:tcPr>
                    <a:solidFill>
                      <a:schemeClr val="accent1"/>
                    </a:solidFill>
                  </a:tcPr>
                </a:tc>
                <a:tc>
                  <a:txBody>
                    <a:bodyPr/>
                    <a:lstStyle/>
                    <a:p>
                      <a:pPr marL="171450" indent="-171450" algn="l">
                        <a:buFont typeface="Arial" panose="020B0604020202020204" pitchFamily="34" charset="0"/>
                        <a:buChar char="•"/>
                      </a:pPr>
                      <a:r>
                        <a:rPr kumimoji="1" lang="ja-JP" altLang="en-US" sz="1100"/>
                        <a:t>システムに関するマスタ情報を管理する業務</a:t>
                      </a:r>
                    </a:p>
                  </a:txBody>
                  <a:tcPr/>
                </a:tc>
                <a:extLst>
                  <a:ext uri="{0D108BD9-81ED-4DB2-BD59-A6C34878D82A}">
                    <a16:rowId xmlns:a16="http://schemas.microsoft.com/office/drawing/2014/main" val="2908841805"/>
                  </a:ext>
                </a:extLst>
              </a:tr>
              <a:tr h="436565">
                <a:tc>
                  <a:txBody>
                    <a:bodyPr/>
                    <a:lstStyle/>
                    <a:p>
                      <a:pPr algn="l"/>
                      <a:r>
                        <a:rPr kumimoji="1" lang="en-US" altLang="ja-JP" sz="1100" b="1">
                          <a:solidFill>
                            <a:schemeClr val="bg1"/>
                          </a:solidFill>
                        </a:rPr>
                        <a:t>f</a:t>
                      </a:r>
                      <a:endParaRPr kumimoji="1" lang="ja-JP" altLang="en-US" sz="1100" b="1">
                        <a:solidFill>
                          <a:schemeClr val="bg1"/>
                        </a:solidFill>
                      </a:endParaRPr>
                    </a:p>
                  </a:txBody>
                  <a:tcPr>
                    <a:solidFill>
                      <a:schemeClr val="accent1"/>
                    </a:solidFill>
                  </a:tcPr>
                </a:tc>
                <a:tc>
                  <a:txBody>
                    <a:bodyPr/>
                    <a:lstStyle/>
                    <a:p>
                      <a:pPr algn="l"/>
                      <a:r>
                        <a:rPr kumimoji="1" lang="ja-JP" altLang="en-US" sz="1100" b="1">
                          <a:solidFill>
                            <a:schemeClr val="bg1"/>
                          </a:solidFill>
                        </a:rPr>
                        <a:t>品質情報管理</a:t>
                      </a:r>
                    </a:p>
                  </a:txBody>
                  <a:tcPr>
                    <a:solidFill>
                      <a:schemeClr val="accent1"/>
                    </a:solidFill>
                  </a:tcPr>
                </a:tc>
                <a:tc>
                  <a:txBody>
                    <a:bodyPr/>
                    <a:lstStyle/>
                    <a:p>
                      <a:pPr marL="171450" indent="-171450" algn="l">
                        <a:buFont typeface="Arial" panose="020B0604020202020204" pitchFamily="34" charset="0"/>
                        <a:buChar char="•"/>
                      </a:pPr>
                      <a:r>
                        <a:rPr kumimoji="1" lang="ja-JP" altLang="en-US" sz="1100"/>
                        <a:t>納入仕様書を作成する際に、必要な製品情報を登録する業務</a:t>
                      </a:r>
                    </a:p>
                  </a:txBody>
                  <a:tcPr/>
                </a:tc>
                <a:extLst>
                  <a:ext uri="{0D108BD9-81ED-4DB2-BD59-A6C34878D82A}">
                    <a16:rowId xmlns:a16="http://schemas.microsoft.com/office/drawing/2014/main" val="1974939878"/>
                  </a:ext>
                </a:extLst>
              </a:tr>
              <a:tr h="436565">
                <a:tc>
                  <a:txBody>
                    <a:bodyPr/>
                    <a:lstStyle/>
                    <a:p>
                      <a:pPr algn="l"/>
                      <a:r>
                        <a:rPr kumimoji="1" lang="en-US" altLang="ja-JP" sz="1100" b="1">
                          <a:solidFill>
                            <a:schemeClr val="bg1"/>
                          </a:solidFill>
                        </a:rPr>
                        <a:t>g</a:t>
                      </a:r>
                      <a:endParaRPr kumimoji="1" lang="ja-JP" altLang="en-US" sz="1100" b="1">
                        <a:solidFill>
                          <a:schemeClr val="bg1"/>
                        </a:solidFill>
                      </a:endParaRPr>
                    </a:p>
                  </a:txBody>
                  <a:tcPr>
                    <a:solidFill>
                      <a:schemeClr val="accent1"/>
                    </a:solidFill>
                  </a:tcPr>
                </a:tc>
                <a:tc>
                  <a:txBody>
                    <a:bodyPr/>
                    <a:lstStyle/>
                    <a:p>
                      <a:pPr algn="l"/>
                      <a:r>
                        <a:rPr kumimoji="1" lang="ja-JP" altLang="en-US" sz="1100" b="1">
                          <a:solidFill>
                            <a:schemeClr val="bg1"/>
                          </a:solidFill>
                        </a:rPr>
                        <a:t>関連文書管理</a:t>
                      </a:r>
                    </a:p>
                  </a:txBody>
                  <a:tcPr>
                    <a:solidFill>
                      <a:schemeClr val="accent1"/>
                    </a:solidFill>
                  </a:tcPr>
                </a:tc>
                <a:tc>
                  <a:txBody>
                    <a:bodyPr/>
                    <a:lstStyle/>
                    <a:p>
                      <a:pPr marL="171450" indent="-171450" algn="l">
                        <a:buFont typeface="Arial" panose="020B0604020202020204" pitchFamily="34" charset="0"/>
                        <a:buChar char="•"/>
                      </a:pPr>
                      <a:r>
                        <a:rPr kumimoji="1" lang="ja-JP" altLang="en-US" sz="1100"/>
                        <a:t>納入仕様書を作成する際、必要な資料を自動収集するために文書を登録する業務</a:t>
                      </a:r>
                    </a:p>
                  </a:txBody>
                  <a:tcPr/>
                </a:tc>
                <a:extLst>
                  <a:ext uri="{0D108BD9-81ED-4DB2-BD59-A6C34878D82A}">
                    <a16:rowId xmlns:a16="http://schemas.microsoft.com/office/drawing/2014/main" val="539348816"/>
                  </a:ext>
                </a:extLst>
              </a:tr>
              <a:tr h="436565">
                <a:tc>
                  <a:txBody>
                    <a:bodyPr/>
                    <a:lstStyle/>
                    <a:p>
                      <a:pPr algn="l"/>
                      <a:r>
                        <a:rPr kumimoji="1" lang="en-US" altLang="ja-JP" sz="1100" b="1">
                          <a:solidFill>
                            <a:schemeClr val="bg1"/>
                          </a:solidFill>
                        </a:rPr>
                        <a:t>h</a:t>
                      </a:r>
                      <a:endParaRPr kumimoji="1" lang="ja-JP" altLang="en-US" sz="1100" b="1">
                        <a:solidFill>
                          <a:schemeClr val="bg1"/>
                        </a:solidFill>
                      </a:endParaRPr>
                    </a:p>
                  </a:txBody>
                  <a:tcPr>
                    <a:solidFill>
                      <a:schemeClr val="accent1"/>
                    </a:solidFill>
                  </a:tcPr>
                </a:tc>
                <a:tc>
                  <a:txBody>
                    <a:bodyPr/>
                    <a:lstStyle/>
                    <a:p>
                      <a:pPr algn="l"/>
                      <a:r>
                        <a:rPr kumimoji="1" lang="ja-JP" altLang="en-US" sz="1100" b="1">
                          <a:solidFill>
                            <a:schemeClr val="bg1"/>
                          </a:solidFill>
                        </a:rPr>
                        <a:t>アナウンス</a:t>
                      </a:r>
                    </a:p>
                  </a:txBody>
                  <a:tcPr>
                    <a:solidFill>
                      <a:schemeClr val="accent1"/>
                    </a:solidFill>
                  </a:tcPr>
                </a:tc>
                <a:tc>
                  <a:txBody>
                    <a:bodyPr/>
                    <a:lstStyle/>
                    <a:p>
                      <a:pPr marL="171450" indent="-171450" algn="l">
                        <a:buFont typeface="Arial" panose="020B0604020202020204" pitchFamily="34" charset="0"/>
                        <a:buChar char="•"/>
                      </a:pPr>
                      <a:r>
                        <a:rPr kumimoji="1" lang="ja-JP" altLang="en-US" sz="1100"/>
                        <a:t>システム上で共有すべき資料やお知らせを掲示する業務</a:t>
                      </a:r>
                    </a:p>
                  </a:txBody>
                  <a:tcPr/>
                </a:tc>
                <a:extLst>
                  <a:ext uri="{0D108BD9-81ED-4DB2-BD59-A6C34878D82A}">
                    <a16:rowId xmlns:a16="http://schemas.microsoft.com/office/drawing/2014/main" val="820202985"/>
                  </a:ext>
                </a:extLst>
              </a:tr>
              <a:tr h="436565">
                <a:tc>
                  <a:txBody>
                    <a:bodyPr/>
                    <a:lstStyle/>
                    <a:p>
                      <a:pPr algn="l"/>
                      <a:r>
                        <a:rPr kumimoji="1" lang="en-US" altLang="ja-JP" sz="1100" b="1" err="1">
                          <a:solidFill>
                            <a:schemeClr val="bg1"/>
                          </a:solidFill>
                        </a:rPr>
                        <a:t>i</a:t>
                      </a:r>
                      <a:endParaRPr kumimoji="1" lang="ja-JP" altLang="en-US" sz="1100" b="1">
                        <a:solidFill>
                          <a:schemeClr val="bg1"/>
                        </a:solidFill>
                      </a:endParaRPr>
                    </a:p>
                  </a:txBody>
                  <a:tcPr>
                    <a:solidFill>
                      <a:schemeClr val="accent1"/>
                    </a:solidFill>
                  </a:tcPr>
                </a:tc>
                <a:tc>
                  <a:txBody>
                    <a:bodyPr/>
                    <a:lstStyle/>
                    <a:p>
                      <a:pPr algn="l"/>
                      <a:r>
                        <a:rPr kumimoji="1" lang="ja-JP" altLang="en-US" sz="1100" b="1">
                          <a:solidFill>
                            <a:schemeClr val="bg1"/>
                          </a:solidFill>
                        </a:rPr>
                        <a:t>文書閲覧</a:t>
                      </a:r>
                    </a:p>
                  </a:txBody>
                  <a:tcPr>
                    <a:solidFill>
                      <a:schemeClr val="accent1"/>
                    </a:solidFill>
                  </a:tcPr>
                </a:tc>
                <a:tc>
                  <a:txBody>
                    <a:bodyPr/>
                    <a:lstStyle/>
                    <a:p>
                      <a:pPr marL="171450" indent="-171450" algn="l">
                        <a:buFont typeface="Arial" panose="020B0604020202020204" pitchFamily="34" charset="0"/>
                        <a:buChar char="•"/>
                      </a:pPr>
                      <a:r>
                        <a:rPr kumimoji="1" lang="ja-JP" altLang="en-US" sz="1100"/>
                        <a:t>各種文書を閲覧する業務</a:t>
                      </a:r>
                      <a:endParaRPr kumimoji="1" lang="en-US" altLang="ja-JP" sz="1100"/>
                    </a:p>
                  </a:txBody>
                  <a:tcPr/>
                </a:tc>
                <a:extLst>
                  <a:ext uri="{0D108BD9-81ED-4DB2-BD59-A6C34878D82A}">
                    <a16:rowId xmlns:a16="http://schemas.microsoft.com/office/drawing/2014/main" val="3863030064"/>
                  </a:ext>
                </a:extLst>
              </a:tr>
              <a:tr h="436565">
                <a:tc>
                  <a:txBody>
                    <a:bodyPr/>
                    <a:lstStyle/>
                    <a:p>
                      <a:pPr algn="l"/>
                      <a:r>
                        <a:rPr kumimoji="1" lang="en-US" altLang="ja-JP" sz="1100" b="1">
                          <a:solidFill>
                            <a:schemeClr val="bg1"/>
                          </a:solidFill>
                        </a:rPr>
                        <a:t>k</a:t>
                      </a:r>
                      <a:endParaRPr kumimoji="1" lang="ja-JP" altLang="en-US" sz="1100" b="1">
                        <a:solidFill>
                          <a:schemeClr val="bg1"/>
                        </a:solidFill>
                      </a:endParaRPr>
                    </a:p>
                  </a:txBody>
                  <a:tcPr>
                    <a:solidFill>
                      <a:schemeClr val="accent1"/>
                    </a:solidFill>
                  </a:tcPr>
                </a:tc>
                <a:tc>
                  <a:txBody>
                    <a:bodyPr/>
                    <a:lstStyle/>
                    <a:p>
                      <a:pPr algn="l"/>
                      <a:r>
                        <a:rPr kumimoji="1" lang="ja-JP" altLang="en-US" sz="1100" b="1">
                          <a:solidFill>
                            <a:schemeClr val="bg1"/>
                          </a:solidFill>
                        </a:rPr>
                        <a:t>文書廃棄</a:t>
                      </a:r>
                    </a:p>
                  </a:txBody>
                  <a:tcPr>
                    <a:solidFill>
                      <a:schemeClr val="accent1"/>
                    </a:solidFill>
                  </a:tcPr>
                </a:tc>
                <a:tc>
                  <a:txBody>
                    <a:bodyPr/>
                    <a:lstStyle/>
                    <a:p>
                      <a:pPr marL="171450" indent="-171450" algn="l">
                        <a:buFont typeface="Arial" panose="020B0604020202020204" pitchFamily="34" charset="0"/>
                        <a:buChar char="•"/>
                      </a:pPr>
                      <a:r>
                        <a:rPr kumimoji="1" lang="ja-JP" altLang="en-US" sz="1100"/>
                        <a:t>運用されている文書について、廃版に登録する業務（文書削除とは異なる）</a:t>
                      </a:r>
                      <a:endParaRPr kumimoji="1" lang="en-US" altLang="ja-JP" sz="1100"/>
                    </a:p>
                  </a:txBody>
                  <a:tcPr/>
                </a:tc>
                <a:extLst>
                  <a:ext uri="{0D108BD9-81ED-4DB2-BD59-A6C34878D82A}">
                    <a16:rowId xmlns:a16="http://schemas.microsoft.com/office/drawing/2014/main" val="1945958331"/>
                  </a:ext>
                </a:extLst>
              </a:tr>
              <a:tr h="436565">
                <a:tc>
                  <a:txBody>
                    <a:bodyPr/>
                    <a:lstStyle/>
                    <a:p>
                      <a:pPr algn="l"/>
                      <a:r>
                        <a:rPr kumimoji="1" lang="en-US" altLang="ja-JP" sz="1100" b="1">
                          <a:solidFill>
                            <a:schemeClr val="bg1"/>
                          </a:solidFill>
                        </a:rPr>
                        <a:t>j</a:t>
                      </a:r>
                      <a:endParaRPr kumimoji="1" lang="ja-JP" altLang="en-US" sz="1100" b="1">
                        <a:solidFill>
                          <a:schemeClr val="bg1"/>
                        </a:solidFill>
                      </a:endParaRPr>
                    </a:p>
                  </a:txBody>
                  <a:tcPr>
                    <a:solidFill>
                      <a:schemeClr val="accent1"/>
                    </a:solidFill>
                  </a:tcPr>
                </a:tc>
                <a:tc>
                  <a:txBody>
                    <a:bodyPr/>
                    <a:lstStyle/>
                    <a:p>
                      <a:pPr algn="l"/>
                      <a:r>
                        <a:rPr kumimoji="1" lang="ja-JP" altLang="en-US" sz="1100" b="1">
                          <a:solidFill>
                            <a:schemeClr val="bg1"/>
                          </a:solidFill>
                        </a:rPr>
                        <a:t>バッチ処理</a:t>
                      </a:r>
                    </a:p>
                  </a:txBody>
                  <a:tcPr>
                    <a:solidFill>
                      <a:schemeClr val="accent1"/>
                    </a:solidFill>
                  </a:tcPr>
                </a:tc>
                <a:tc>
                  <a:txBody>
                    <a:bodyPr/>
                    <a:lstStyle/>
                    <a:p>
                      <a:pPr marL="171450" indent="-171450" algn="l">
                        <a:buFont typeface="Arial" panose="020B0604020202020204" pitchFamily="34" charset="0"/>
                        <a:buChar char="•"/>
                      </a:pPr>
                      <a:r>
                        <a:rPr kumimoji="1" lang="ja-JP" altLang="en-US" sz="1100"/>
                        <a:t>定期的にシステム実行する業務</a:t>
                      </a:r>
                      <a:endParaRPr kumimoji="1" lang="en-US" altLang="ja-JP" sz="1100"/>
                    </a:p>
                  </a:txBody>
                  <a:tcPr/>
                </a:tc>
                <a:extLst>
                  <a:ext uri="{0D108BD9-81ED-4DB2-BD59-A6C34878D82A}">
                    <a16:rowId xmlns:a16="http://schemas.microsoft.com/office/drawing/2014/main" val="1830263719"/>
                  </a:ext>
                </a:extLst>
              </a:tr>
            </a:tbl>
          </a:graphicData>
        </a:graphic>
      </p:graphicFrame>
      <p:sp>
        <p:nvSpPr>
          <p:cNvPr id="3" name="テキスト プレースホルダー 4">
            <a:extLst>
              <a:ext uri="{FF2B5EF4-FFF2-40B4-BE49-F238E27FC236}">
                <a16:creationId xmlns:a16="http://schemas.microsoft.com/office/drawing/2014/main" id="{92B1440F-EDDA-15F7-1728-C1ACE23014CC}"/>
              </a:ext>
            </a:extLst>
          </p:cNvPr>
          <p:cNvSpPr txBox="1">
            <a:spLocks/>
          </p:cNvSpPr>
          <p:nvPr/>
        </p:nvSpPr>
        <p:spPr>
          <a:xfrm>
            <a:off x="251524" y="1052963"/>
            <a:ext cx="8640950" cy="365125"/>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1)</a:t>
            </a:r>
            <a:r>
              <a:rPr kumimoji="1" lang="ja-JP" altLang="en-US" sz="1800"/>
              <a:t>業務概要</a:t>
            </a:r>
            <a:endParaRPr kumimoji="1" lang="en-US" altLang="zh-TW" sz="1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Tree>
    <p:extLst>
      <p:ext uri="{BB962C8B-B14F-4D97-AF65-F5344CB8AC3E}">
        <p14:creationId xmlns:p14="http://schemas.microsoft.com/office/powerpoint/2010/main" val="10182298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84D1DA-97ED-2719-33EF-A13650BDF7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2A84D1DA-97ED-2719-33EF-A13650BDF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C0CD4ED1-0F74-83B6-F4AC-8C87103B97BF}"/>
              </a:ext>
            </a:extLst>
          </p:cNvPr>
          <p:cNvSpPr>
            <a:spLocks noGrp="1"/>
          </p:cNvSpPr>
          <p:nvPr>
            <p:ph type="title"/>
          </p:nvPr>
        </p:nvSpPr>
        <p:spPr/>
        <p:txBody>
          <a:bodyPr vert="horz"/>
          <a:lstStyle/>
          <a:p>
            <a:r>
              <a:rPr lang="ja-JP" altLang="en-US"/>
              <a:t>２．機能要件</a:t>
            </a:r>
            <a:endParaRPr kumimoji="1" lang="ja-JP" altLang="en-US"/>
          </a:p>
        </p:txBody>
      </p:sp>
      <p:sp>
        <p:nvSpPr>
          <p:cNvPr id="3" name="テキスト プレースホルダー 4">
            <a:extLst>
              <a:ext uri="{FF2B5EF4-FFF2-40B4-BE49-F238E27FC236}">
                <a16:creationId xmlns:a16="http://schemas.microsoft.com/office/drawing/2014/main" id="{251B3422-0C83-F0E0-CEB5-1398EC9D9C0C}"/>
              </a:ext>
            </a:extLst>
          </p:cNvPr>
          <p:cNvSpPr txBox="1">
            <a:spLocks/>
          </p:cNvSpPr>
          <p:nvPr/>
        </p:nvSpPr>
        <p:spPr>
          <a:xfrm>
            <a:off x="251524" y="1052963"/>
            <a:ext cx="8640950" cy="36512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kumimoji="1" lang="ja-JP" altLang="en-US" sz="1800"/>
              <a:t>画面イメージ</a:t>
            </a:r>
            <a:endParaRPr kumimoji="1" lang="en-US" altLang="zh-TW"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28" name="スライド番号プレースホルダー 1">
            <a:extLst>
              <a:ext uri="{FF2B5EF4-FFF2-40B4-BE49-F238E27FC236}">
                <a16:creationId xmlns:a16="http://schemas.microsoft.com/office/drawing/2014/main" id="{B45C7C43-84BC-EB68-B34A-AAE39F6D8E9C}"/>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30</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91" name="正方形/長方形 90">
            <a:extLst>
              <a:ext uri="{FF2B5EF4-FFF2-40B4-BE49-F238E27FC236}">
                <a16:creationId xmlns:a16="http://schemas.microsoft.com/office/drawing/2014/main" id="{6CE6E245-6D90-A273-F2A0-D60BE5CDAECB}"/>
              </a:ext>
            </a:extLst>
          </p:cNvPr>
          <p:cNvSpPr/>
          <p:nvPr/>
        </p:nvSpPr>
        <p:spPr>
          <a:xfrm>
            <a:off x="255605" y="1418087"/>
            <a:ext cx="8665427" cy="25841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FFFFFF"/>
                </a:solidFill>
                <a:effectLst/>
                <a:uLnTx/>
                <a:uFillTx/>
                <a:latin typeface="Arial"/>
                <a:ea typeface="游ゴシック Medium"/>
                <a:cs typeface="+mn-cs"/>
              </a:rPr>
              <a:t>マスタ（承認窓口）イメージ　　　　</a:t>
            </a:r>
          </a:p>
        </p:txBody>
      </p:sp>
      <p:sp>
        <p:nvSpPr>
          <p:cNvPr id="92" name="正方形/長方形 91">
            <a:extLst>
              <a:ext uri="{FF2B5EF4-FFF2-40B4-BE49-F238E27FC236}">
                <a16:creationId xmlns:a16="http://schemas.microsoft.com/office/drawing/2014/main" id="{FB29D3D2-993B-758A-AE64-338460FA6218}"/>
              </a:ext>
            </a:extLst>
          </p:cNvPr>
          <p:cNvSpPr/>
          <p:nvPr/>
        </p:nvSpPr>
        <p:spPr>
          <a:xfrm>
            <a:off x="7184454" y="1499045"/>
            <a:ext cx="1711088" cy="17346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700" b="0" i="0" u="none" strike="noStrike" kern="0" cap="none" spc="0" normalizeH="0" baseline="0" noProof="0">
                <a:ln>
                  <a:noFill/>
                </a:ln>
                <a:solidFill>
                  <a:srgbClr val="FFFFFF"/>
                </a:solidFill>
                <a:effectLst/>
                <a:uLnTx/>
                <a:uFillTx/>
                <a:latin typeface="Arial"/>
                <a:ea typeface="游ゴシック Medium"/>
                <a:cs typeface="+mn-cs"/>
              </a:rPr>
              <a:t>※</a:t>
            </a:r>
            <a:r>
              <a:rPr kumimoji="0" lang="ja-JP" altLang="en-US" sz="700" b="0" i="0" u="none" strike="noStrike" kern="0" cap="none" spc="0" normalizeH="0" baseline="0" noProof="0">
                <a:ln>
                  <a:noFill/>
                </a:ln>
                <a:solidFill>
                  <a:srgbClr val="FFFFFF"/>
                </a:solidFill>
                <a:effectLst/>
                <a:uLnTx/>
                <a:uFillTx/>
                <a:latin typeface="Arial"/>
                <a:ea typeface="游ゴシック Medium"/>
                <a:cs typeface="+mn-cs"/>
              </a:rPr>
              <a:t>現行システムの参考画面です</a:t>
            </a:r>
            <a:endParaRPr kumimoji="0" lang="ja-JP" altLang="en-US" sz="1100" b="0" i="0" u="none" strike="noStrike" kern="0" cap="none" spc="0" normalizeH="0" baseline="0" noProof="0">
              <a:ln>
                <a:noFill/>
              </a:ln>
              <a:solidFill>
                <a:srgbClr val="FFFFFF"/>
              </a:solidFill>
              <a:effectLst/>
              <a:uLnTx/>
              <a:uFillTx/>
              <a:latin typeface="Arial"/>
              <a:ea typeface="游ゴシック Medium"/>
              <a:cs typeface="+mn-cs"/>
            </a:endParaRPr>
          </a:p>
        </p:txBody>
      </p:sp>
      <p:sp>
        <p:nvSpPr>
          <p:cNvPr id="25" name="吹き出し: 線 (枠付き、強調線付き) 24">
            <a:extLst>
              <a:ext uri="{FF2B5EF4-FFF2-40B4-BE49-F238E27FC236}">
                <a16:creationId xmlns:a16="http://schemas.microsoft.com/office/drawing/2014/main" id="{0CD750F5-E3CB-4EA2-5BB2-32AFA06CD271}"/>
              </a:ext>
            </a:extLst>
          </p:cNvPr>
          <p:cNvSpPr/>
          <p:nvPr/>
        </p:nvSpPr>
        <p:spPr>
          <a:xfrm>
            <a:off x="1438275" y="2195975"/>
            <a:ext cx="3815107" cy="2098318"/>
          </a:xfrm>
          <a:prstGeom prst="accentBorderCallout1">
            <a:avLst>
              <a:gd name="adj1" fmla="val 5862"/>
              <a:gd name="adj2" fmla="val 104338"/>
              <a:gd name="adj3" fmla="val 5781"/>
              <a:gd name="adj4" fmla="val 116099"/>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30" name="正方形/長方形 29">
            <a:extLst>
              <a:ext uri="{FF2B5EF4-FFF2-40B4-BE49-F238E27FC236}">
                <a16:creationId xmlns:a16="http://schemas.microsoft.com/office/drawing/2014/main" id="{3448C59E-558C-342D-EA1A-7AE67789B08F}"/>
              </a:ext>
            </a:extLst>
          </p:cNvPr>
          <p:cNvSpPr/>
          <p:nvPr/>
        </p:nvSpPr>
        <p:spPr>
          <a:xfrm>
            <a:off x="5878996" y="2152795"/>
            <a:ext cx="1826729" cy="1948629"/>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sng" strike="noStrike" kern="0" cap="none" spc="0" normalizeH="0" baseline="0" noProof="0">
                <a:ln>
                  <a:noFill/>
                </a:ln>
                <a:solidFill>
                  <a:srgbClr val="000000"/>
                </a:solidFill>
                <a:effectLst/>
                <a:uLnTx/>
                <a:uFillTx/>
                <a:latin typeface="+mn-ea"/>
                <a:cs typeface="+mn-cs"/>
              </a:rPr>
              <a:t>マスタ（承認窓口）を入力する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20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kern="0">
                <a:solidFill>
                  <a:srgbClr val="000000"/>
                </a:solidFill>
                <a:latin typeface="+mn-ea"/>
              </a:rPr>
              <a:t>承認窓口を登録</a:t>
            </a:r>
            <a:r>
              <a:rPr kumimoji="0" lang="ja-JP" altLang="en-US" sz="1100" b="0" i="0" u="none" strike="noStrike" kern="0" cap="none" spc="0" normalizeH="0" baseline="0" noProof="0">
                <a:ln>
                  <a:noFill/>
                </a:ln>
                <a:solidFill>
                  <a:srgbClr val="000000"/>
                </a:solidFill>
                <a:effectLst/>
                <a:uLnTx/>
                <a:uFillTx/>
                <a:latin typeface="+mn-ea"/>
                <a:cs typeface="+mn-cs"/>
              </a:rPr>
              <a:t>する機能</a:t>
            </a:r>
            <a:endParaRPr kumimoji="0" lang="en-US" altLang="ja-JP" sz="11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kern="0">
                <a:solidFill>
                  <a:srgbClr val="000000"/>
                </a:solidFill>
                <a:latin typeface="+mn-ea"/>
              </a:rPr>
              <a:t>担当者を登録する機能</a:t>
            </a: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200" b="0" i="0" u="none" strike="noStrike" kern="0" cap="none" spc="0" normalizeH="0" baseline="0" noProof="0">
              <a:ln>
                <a:noFill/>
              </a:ln>
              <a:solidFill>
                <a:srgbClr val="000000"/>
              </a:solidFill>
              <a:effectLst/>
              <a:uLnTx/>
              <a:uFillTx/>
              <a:latin typeface="+mn-ea"/>
              <a:cs typeface="+mn-cs"/>
            </a:endParaRPr>
          </a:p>
        </p:txBody>
      </p:sp>
      <p:pic>
        <p:nvPicPr>
          <p:cNvPr id="2" name="図 1">
            <a:extLst>
              <a:ext uri="{FF2B5EF4-FFF2-40B4-BE49-F238E27FC236}">
                <a16:creationId xmlns:a16="http://schemas.microsoft.com/office/drawing/2014/main" id="{A46B69D1-E953-78CF-6A14-F1F81E8DF744}"/>
              </a:ext>
            </a:extLst>
          </p:cNvPr>
          <p:cNvPicPr>
            <a:picLocks noChangeAspect="1"/>
          </p:cNvPicPr>
          <p:nvPr/>
        </p:nvPicPr>
        <p:blipFill>
          <a:blip r:embed="rId5"/>
          <a:stretch>
            <a:fillRect/>
          </a:stretch>
        </p:blipFill>
        <p:spPr>
          <a:xfrm>
            <a:off x="1504651" y="2302937"/>
            <a:ext cx="3655025" cy="1869439"/>
          </a:xfrm>
          <a:prstGeom prst="rect">
            <a:avLst/>
          </a:prstGeom>
        </p:spPr>
      </p:pic>
    </p:spTree>
    <p:extLst>
      <p:ext uri="{BB962C8B-B14F-4D97-AF65-F5344CB8AC3E}">
        <p14:creationId xmlns:p14="http://schemas.microsoft.com/office/powerpoint/2010/main" val="22385225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84D1DA-97ED-2719-33EF-A13650BDF7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2A84D1DA-97ED-2719-33EF-A13650BDF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C0CD4ED1-0F74-83B6-F4AC-8C87103B97BF}"/>
              </a:ext>
            </a:extLst>
          </p:cNvPr>
          <p:cNvSpPr>
            <a:spLocks noGrp="1"/>
          </p:cNvSpPr>
          <p:nvPr>
            <p:ph type="title"/>
          </p:nvPr>
        </p:nvSpPr>
        <p:spPr/>
        <p:txBody>
          <a:bodyPr vert="horz"/>
          <a:lstStyle/>
          <a:p>
            <a:r>
              <a:rPr lang="ja-JP" altLang="en-US"/>
              <a:t>２．機能要件</a:t>
            </a:r>
            <a:endParaRPr kumimoji="1" lang="ja-JP" altLang="en-US"/>
          </a:p>
        </p:txBody>
      </p:sp>
      <p:sp>
        <p:nvSpPr>
          <p:cNvPr id="3" name="テキスト プレースホルダー 4">
            <a:extLst>
              <a:ext uri="{FF2B5EF4-FFF2-40B4-BE49-F238E27FC236}">
                <a16:creationId xmlns:a16="http://schemas.microsoft.com/office/drawing/2014/main" id="{251B3422-0C83-F0E0-CEB5-1398EC9D9C0C}"/>
              </a:ext>
            </a:extLst>
          </p:cNvPr>
          <p:cNvSpPr txBox="1">
            <a:spLocks/>
          </p:cNvSpPr>
          <p:nvPr/>
        </p:nvSpPr>
        <p:spPr>
          <a:xfrm>
            <a:off x="251524" y="1052963"/>
            <a:ext cx="8640950" cy="36512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kumimoji="1" lang="ja-JP" altLang="en-US" sz="1800"/>
              <a:t>画面イメージ</a:t>
            </a:r>
            <a:endParaRPr kumimoji="1" lang="en-US" altLang="zh-TW"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28" name="スライド番号プレースホルダー 1">
            <a:extLst>
              <a:ext uri="{FF2B5EF4-FFF2-40B4-BE49-F238E27FC236}">
                <a16:creationId xmlns:a16="http://schemas.microsoft.com/office/drawing/2014/main" id="{B45C7C43-84BC-EB68-B34A-AAE39F6D8E9C}"/>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91" name="正方形/長方形 90">
            <a:extLst>
              <a:ext uri="{FF2B5EF4-FFF2-40B4-BE49-F238E27FC236}">
                <a16:creationId xmlns:a16="http://schemas.microsoft.com/office/drawing/2014/main" id="{6CE6E245-6D90-A273-F2A0-D60BE5CDAECB}"/>
              </a:ext>
            </a:extLst>
          </p:cNvPr>
          <p:cNvSpPr/>
          <p:nvPr/>
        </p:nvSpPr>
        <p:spPr>
          <a:xfrm>
            <a:off x="255605" y="1418087"/>
            <a:ext cx="8665427" cy="25841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FFFFFF"/>
                </a:solidFill>
                <a:effectLst/>
                <a:uLnTx/>
                <a:uFillTx/>
                <a:latin typeface="Arial"/>
                <a:ea typeface="游ゴシック Medium"/>
                <a:cs typeface="+mn-cs"/>
              </a:rPr>
              <a:t>マスタ（場所）イメージ　　　　</a:t>
            </a:r>
          </a:p>
        </p:txBody>
      </p:sp>
      <p:sp>
        <p:nvSpPr>
          <p:cNvPr id="92" name="正方形/長方形 91">
            <a:extLst>
              <a:ext uri="{FF2B5EF4-FFF2-40B4-BE49-F238E27FC236}">
                <a16:creationId xmlns:a16="http://schemas.microsoft.com/office/drawing/2014/main" id="{FB29D3D2-993B-758A-AE64-338460FA6218}"/>
              </a:ext>
            </a:extLst>
          </p:cNvPr>
          <p:cNvSpPr/>
          <p:nvPr/>
        </p:nvSpPr>
        <p:spPr>
          <a:xfrm>
            <a:off x="7184454" y="1499045"/>
            <a:ext cx="1711088" cy="17346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700" b="0" i="0" u="none" strike="noStrike" kern="0" cap="none" spc="0" normalizeH="0" baseline="0" noProof="0">
                <a:ln>
                  <a:noFill/>
                </a:ln>
                <a:solidFill>
                  <a:srgbClr val="FFFFFF"/>
                </a:solidFill>
                <a:effectLst/>
                <a:uLnTx/>
                <a:uFillTx/>
                <a:latin typeface="Arial"/>
                <a:ea typeface="游ゴシック Medium"/>
                <a:cs typeface="+mn-cs"/>
              </a:rPr>
              <a:t>※</a:t>
            </a:r>
            <a:r>
              <a:rPr kumimoji="0" lang="ja-JP" altLang="en-US" sz="700" b="0" i="0" u="none" strike="noStrike" kern="0" cap="none" spc="0" normalizeH="0" baseline="0" noProof="0">
                <a:ln>
                  <a:noFill/>
                </a:ln>
                <a:solidFill>
                  <a:srgbClr val="FFFFFF"/>
                </a:solidFill>
                <a:effectLst/>
                <a:uLnTx/>
                <a:uFillTx/>
                <a:latin typeface="Arial"/>
                <a:ea typeface="游ゴシック Medium"/>
                <a:cs typeface="+mn-cs"/>
              </a:rPr>
              <a:t>現行システムの参考画面です</a:t>
            </a:r>
            <a:endParaRPr kumimoji="0" lang="ja-JP" altLang="en-US" sz="1100" b="0" i="0" u="none" strike="noStrike" kern="0" cap="none" spc="0" normalizeH="0" baseline="0" noProof="0">
              <a:ln>
                <a:noFill/>
              </a:ln>
              <a:solidFill>
                <a:srgbClr val="FFFFFF"/>
              </a:solidFill>
              <a:effectLst/>
              <a:uLnTx/>
              <a:uFillTx/>
              <a:latin typeface="Arial"/>
              <a:ea typeface="游ゴシック Medium"/>
              <a:cs typeface="+mn-cs"/>
            </a:endParaRPr>
          </a:p>
        </p:txBody>
      </p:sp>
      <p:sp>
        <p:nvSpPr>
          <p:cNvPr id="25" name="吹き出し: 線 (枠付き、強調線付き) 24">
            <a:extLst>
              <a:ext uri="{FF2B5EF4-FFF2-40B4-BE49-F238E27FC236}">
                <a16:creationId xmlns:a16="http://schemas.microsoft.com/office/drawing/2014/main" id="{0CD750F5-E3CB-4EA2-5BB2-32AFA06CD271}"/>
              </a:ext>
            </a:extLst>
          </p:cNvPr>
          <p:cNvSpPr/>
          <p:nvPr/>
        </p:nvSpPr>
        <p:spPr>
          <a:xfrm>
            <a:off x="1438275" y="2195975"/>
            <a:ext cx="3815107" cy="2724368"/>
          </a:xfrm>
          <a:prstGeom prst="accentBorderCallout1">
            <a:avLst>
              <a:gd name="adj1" fmla="val 5862"/>
              <a:gd name="adj2" fmla="val 104338"/>
              <a:gd name="adj3" fmla="val 5781"/>
              <a:gd name="adj4" fmla="val 116099"/>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30" name="正方形/長方形 29">
            <a:extLst>
              <a:ext uri="{FF2B5EF4-FFF2-40B4-BE49-F238E27FC236}">
                <a16:creationId xmlns:a16="http://schemas.microsoft.com/office/drawing/2014/main" id="{3448C59E-558C-342D-EA1A-7AE67789B08F}"/>
              </a:ext>
            </a:extLst>
          </p:cNvPr>
          <p:cNvSpPr/>
          <p:nvPr/>
        </p:nvSpPr>
        <p:spPr>
          <a:xfrm>
            <a:off x="5878996" y="2152795"/>
            <a:ext cx="1826729" cy="1948629"/>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u="sng" kern="0">
                <a:solidFill>
                  <a:srgbClr val="000000"/>
                </a:solidFill>
                <a:latin typeface="+mn-ea"/>
              </a:rPr>
              <a:t>関連文書のマスタ（場所）</a:t>
            </a:r>
            <a:r>
              <a:rPr kumimoji="0" lang="ja-JP" altLang="en-US" sz="1200" b="0" i="0" u="sng" strike="noStrike" kern="0" cap="none" spc="0" normalizeH="0" baseline="0" noProof="0">
                <a:ln>
                  <a:noFill/>
                </a:ln>
                <a:solidFill>
                  <a:srgbClr val="000000"/>
                </a:solidFill>
                <a:effectLst/>
                <a:uLnTx/>
                <a:uFillTx/>
                <a:latin typeface="+mn-ea"/>
                <a:cs typeface="+mn-cs"/>
              </a:rPr>
              <a:t>を入力する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20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0" cap="none" spc="0" normalizeH="0" baseline="0" noProof="0">
                <a:ln>
                  <a:noFill/>
                </a:ln>
                <a:solidFill>
                  <a:srgbClr val="000000"/>
                </a:solidFill>
                <a:effectLst/>
                <a:uLnTx/>
                <a:uFillTx/>
                <a:latin typeface="+mn-ea"/>
                <a:cs typeface="+mn-cs"/>
              </a:rPr>
              <a:t>連携</a:t>
            </a:r>
            <a:r>
              <a:rPr kumimoji="0" lang="en-US" altLang="ja-JP" sz="1100" b="0" i="0" u="none" strike="noStrike" kern="0" cap="none" spc="0" normalizeH="0" baseline="0" noProof="0">
                <a:ln>
                  <a:noFill/>
                </a:ln>
                <a:solidFill>
                  <a:srgbClr val="000000"/>
                </a:solidFill>
                <a:effectLst/>
                <a:uLnTx/>
                <a:uFillTx/>
                <a:latin typeface="+mn-ea"/>
                <a:cs typeface="+mn-cs"/>
              </a:rPr>
              <a:t>DB</a:t>
            </a:r>
            <a:r>
              <a:rPr kumimoji="0" lang="ja-JP" altLang="en-US" sz="1100" b="0" i="0" u="none" strike="noStrike" kern="0" cap="none" spc="0" normalizeH="0" baseline="0" noProof="0">
                <a:ln>
                  <a:noFill/>
                </a:ln>
                <a:solidFill>
                  <a:srgbClr val="000000"/>
                </a:solidFill>
                <a:effectLst/>
                <a:uLnTx/>
                <a:uFillTx/>
                <a:latin typeface="+mn-ea"/>
                <a:cs typeface="+mn-cs"/>
              </a:rPr>
              <a:t>相当の情報を登録す</a:t>
            </a:r>
            <a:r>
              <a:rPr kumimoji="0" lang="ja-JP" altLang="en-US" sz="1100" kern="0">
                <a:solidFill>
                  <a:srgbClr val="000000"/>
                </a:solidFill>
                <a:latin typeface="+mn-ea"/>
              </a:rPr>
              <a:t>る機能</a:t>
            </a:r>
            <a:endParaRPr kumimoji="0" lang="en-US" altLang="ja-JP" sz="11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0" cap="none" spc="0" normalizeH="0" baseline="0" noProof="0">
                <a:ln>
                  <a:noFill/>
                </a:ln>
                <a:solidFill>
                  <a:srgbClr val="000000"/>
                </a:solidFill>
                <a:effectLst/>
                <a:uLnTx/>
                <a:uFillTx/>
                <a:latin typeface="+mn-ea"/>
                <a:cs typeface="+mn-cs"/>
              </a:rPr>
              <a:t>承認フローを設定する機能</a:t>
            </a:r>
            <a:endParaRPr kumimoji="0" lang="en-US" altLang="ja-JP" sz="11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200" b="0" i="0" u="none" strike="noStrike" kern="0" cap="none" spc="0" normalizeH="0" baseline="0" noProof="0">
              <a:ln>
                <a:noFill/>
              </a:ln>
              <a:solidFill>
                <a:srgbClr val="000000"/>
              </a:solidFill>
              <a:effectLst/>
              <a:uLnTx/>
              <a:uFillTx/>
              <a:latin typeface="+mn-ea"/>
              <a:cs typeface="+mn-cs"/>
            </a:endParaRPr>
          </a:p>
        </p:txBody>
      </p:sp>
      <p:pic>
        <p:nvPicPr>
          <p:cNvPr id="2" name="図 1">
            <a:extLst>
              <a:ext uri="{FF2B5EF4-FFF2-40B4-BE49-F238E27FC236}">
                <a16:creationId xmlns:a16="http://schemas.microsoft.com/office/drawing/2014/main" id="{C6B5E095-42C8-655E-6F1B-C0C4524FC5FA}"/>
              </a:ext>
            </a:extLst>
          </p:cNvPr>
          <p:cNvPicPr>
            <a:picLocks noChangeAspect="1"/>
          </p:cNvPicPr>
          <p:nvPr/>
        </p:nvPicPr>
        <p:blipFill>
          <a:blip r:embed="rId5"/>
          <a:stretch>
            <a:fillRect/>
          </a:stretch>
        </p:blipFill>
        <p:spPr>
          <a:xfrm>
            <a:off x="1495831" y="2325225"/>
            <a:ext cx="3647171" cy="2515290"/>
          </a:xfrm>
          <a:prstGeom prst="rect">
            <a:avLst/>
          </a:prstGeom>
        </p:spPr>
      </p:pic>
    </p:spTree>
    <p:extLst>
      <p:ext uri="{BB962C8B-B14F-4D97-AF65-F5344CB8AC3E}">
        <p14:creationId xmlns:p14="http://schemas.microsoft.com/office/powerpoint/2010/main" val="8760692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84D1DA-97ED-2719-33EF-A13650BDF7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2A84D1DA-97ED-2719-33EF-A13650BDF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C0CD4ED1-0F74-83B6-F4AC-8C87103B97BF}"/>
              </a:ext>
            </a:extLst>
          </p:cNvPr>
          <p:cNvSpPr>
            <a:spLocks noGrp="1"/>
          </p:cNvSpPr>
          <p:nvPr>
            <p:ph type="title"/>
          </p:nvPr>
        </p:nvSpPr>
        <p:spPr/>
        <p:txBody>
          <a:bodyPr vert="horz"/>
          <a:lstStyle/>
          <a:p>
            <a:r>
              <a:rPr lang="ja-JP" altLang="en-US"/>
              <a:t>２．機能要件</a:t>
            </a:r>
            <a:endParaRPr kumimoji="1" lang="ja-JP" altLang="en-US"/>
          </a:p>
        </p:txBody>
      </p:sp>
      <p:sp>
        <p:nvSpPr>
          <p:cNvPr id="3" name="テキスト プレースホルダー 4">
            <a:extLst>
              <a:ext uri="{FF2B5EF4-FFF2-40B4-BE49-F238E27FC236}">
                <a16:creationId xmlns:a16="http://schemas.microsoft.com/office/drawing/2014/main" id="{251B3422-0C83-F0E0-CEB5-1398EC9D9C0C}"/>
              </a:ext>
            </a:extLst>
          </p:cNvPr>
          <p:cNvSpPr txBox="1">
            <a:spLocks/>
          </p:cNvSpPr>
          <p:nvPr/>
        </p:nvSpPr>
        <p:spPr>
          <a:xfrm>
            <a:off x="251524" y="1052963"/>
            <a:ext cx="8640950" cy="36512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kumimoji="1" lang="ja-JP" altLang="en-US" sz="1800"/>
              <a:t>画面イメージ</a:t>
            </a:r>
            <a:endParaRPr kumimoji="1" lang="en-US" altLang="zh-TW"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28" name="スライド番号プレースホルダー 1">
            <a:extLst>
              <a:ext uri="{FF2B5EF4-FFF2-40B4-BE49-F238E27FC236}">
                <a16:creationId xmlns:a16="http://schemas.microsoft.com/office/drawing/2014/main" id="{B45C7C43-84BC-EB68-B34A-AAE39F6D8E9C}"/>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91" name="正方形/長方形 90">
            <a:extLst>
              <a:ext uri="{FF2B5EF4-FFF2-40B4-BE49-F238E27FC236}">
                <a16:creationId xmlns:a16="http://schemas.microsoft.com/office/drawing/2014/main" id="{6CE6E245-6D90-A273-F2A0-D60BE5CDAECB}"/>
              </a:ext>
            </a:extLst>
          </p:cNvPr>
          <p:cNvSpPr/>
          <p:nvPr/>
        </p:nvSpPr>
        <p:spPr>
          <a:xfrm>
            <a:off x="255605" y="1418087"/>
            <a:ext cx="8665427" cy="25841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FFFFFF"/>
                </a:solidFill>
                <a:effectLst/>
                <a:uLnTx/>
                <a:uFillTx/>
                <a:latin typeface="Arial"/>
                <a:ea typeface="游ゴシック Medium"/>
                <a:cs typeface="+mn-cs"/>
              </a:rPr>
              <a:t>マスタ（システム定義）イメージ　　　　</a:t>
            </a:r>
          </a:p>
        </p:txBody>
      </p:sp>
      <p:sp>
        <p:nvSpPr>
          <p:cNvPr id="92" name="正方形/長方形 91">
            <a:extLst>
              <a:ext uri="{FF2B5EF4-FFF2-40B4-BE49-F238E27FC236}">
                <a16:creationId xmlns:a16="http://schemas.microsoft.com/office/drawing/2014/main" id="{FB29D3D2-993B-758A-AE64-338460FA6218}"/>
              </a:ext>
            </a:extLst>
          </p:cNvPr>
          <p:cNvSpPr/>
          <p:nvPr/>
        </p:nvSpPr>
        <p:spPr>
          <a:xfrm>
            <a:off x="7184454" y="1499045"/>
            <a:ext cx="1711088" cy="17346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700" b="0" i="0" u="none" strike="noStrike" kern="0" cap="none" spc="0" normalizeH="0" baseline="0" noProof="0">
                <a:ln>
                  <a:noFill/>
                </a:ln>
                <a:solidFill>
                  <a:srgbClr val="FFFFFF"/>
                </a:solidFill>
                <a:effectLst/>
                <a:uLnTx/>
                <a:uFillTx/>
                <a:latin typeface="Arial"/>
                <a:ea typeface="游ゴシック Medium"/>
                <a:cs typeface="+mn-cs"/>
              </a:rPr>
              <a:t>※</a:t>
            </a:r>
            <a:r>
              <a:rPr kumimoji="0" lang="ja-JP" altLang="en-US" sz="700" b="0" i="0" u="none" strike="noStrike" kern="0" cap="none" spc="0" normalizeH="0" baseline="0" noProof="0">
                <a:ln>
                  <a:noFill/>
                </a:ln>
                <a:solidFill>
                  <a:srgbClr val="FFFFFF"/>
                </a:solidFill>
                <a:effectLst/>
                <a:uLnTx/>
                <a:uFillTx/>
                <a:latin typeface="Arial"/>
                <a:ea typeface="游ゴシック Medium"/>
                <a:cs typeface="+mn-cs"/>
              </a:rPr>
              <a:t>現行システムの参考画面です</a:t>
            </a:r>
            <a:endParaRPr kumimoji="0" lang="ja-JP" altLang="en-US" sz="1100" b="0" i="0" u="none" strike="noStrike" kern="0" cap="none" spc="0" normalizeH="0" baseline="0" noProof="0">
              <a:ln>
                <a:noFill/>
              </a:ln>
              <a:solidFill>
                <a:srgbClr val="FFFFFF"/>
              </a:solidFill>
              <a:effectLst/>
              <a:uLnTx/>
              <a:uFillTx/>
              <a:latin typeface="Arial"/>
              <a:ea typeface="游ゴシック Medium"/>
              <a:cs typeface="+mn-cs"/>
            </a:endParaRPr>
          </a:p>
        </p:txBody>
      </p:sp>
      <p:sp>
        <p:nvSpPr>
          <p:cNvPr id="25" name="吹き出し: 線 (枠付き、強調線付き) 24">
            <a:extLst>
              <a:ext uri="{FF2B5EF4-FFF2-40B4-BE49-F238E27FC236}">
                <a16:creationId xmlns:a16="http://schemas.microsoft.com/office/drawing/2014/main" id="{0CD750F5-E3CB-4EA2-5BB2-32AFA06CD271}"/>
              </a:ext>
            </a:extLst>
          </p:cNvPr>
          <p:cNvSpPr/>
          <p:nvPr/>
        </p:nvSpPr>
        <p:spPr>
          <a:xfrm>
            <a:off x="1438275" y="2195975"/>
            <a:ext cx="3815107" cy="3519025"/>
          </a:xfrm>
          <a:prstGeom prst="accentBorderCallout1">
            <a:avLst>
              <a:gd name="adj1" fmla="val 5862"/>
              <a:gd name="adj2" fmla="val 104338"/>
              <a:gd name="adj3" fmla="val 5781"/>
              <a:gd name="adj4" fmla="val 116099"/>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30" name="正方形/長方形 29">
            <a:extLst>
              <a:ext uri="{FF2B5EF4-FFF2-40B4-BE49-F238E27FC236}">
                <a16:creationId xmlns:a16="http://schemas.microsoft.com/office/drawing/2014/main" id="{3448C59E-558C-342D-EA1A-7AE67789B08F}"/>
              </a:ext>
            </a:extLst>
          </p:cNvPr>
          <p:cNvSpPr/>
          <p:nvPr/>
        </p:nvSpPr>
        <p:spPr>
          <a:xfrm>
            <a:off x="5878996" y="2152795"/>
            <a:ext cx="1826729" cy="1948629"/>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u="sng" kern="0">
                <a:solidFill>
                  <a:srgbClr val="000000"/>
                </a:solidFill>
                <a:latin typeface="+mn-ea"/>
              </a:rPr>
              <a:t>品質情報のマスタ（システム定義）</a:t>
            </a:r>
            <a:r>
              <a:rPr kumimoji="0" lang="ja-JP" altLang="en-US" sz="1200" b="0" i="0" u="sng" strike="noStrike" kern="0" cap="none" spc="0" normalizeH="0" baseline="0" noProof="0">
                <a:ln>
                  <a:noFill/>
                </a:ln>
                <a:solidFill>
                  <a:srgbClr val="000000"/>
                </a:solidFill>
                <a:effectLst/>
                <a:uLnTx/>
                <a:uFillTx/>
                <a:latin typeface="+mn-ea"/>
                <a:cs typeface="+mn-cs"/>
              </a:rPr>
              <a:t>を入力する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20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kern="0">
                <a:solidFill>
                  <a:srgbClr val="000000"/>
                </a:solidFill>
                <a:latin typeface="+mn-ea"/>
              </a:rPr>
              <a:t>品質情報の文書に使用する項目を登録</a:t>
            </a:r>
            <a:r>
              <a:rPr kumimoji="0" lang="ja-JP" altLang="en-US" sz="1100" b="0" i="0" u="none" strike="noStrike" kern="0" cap="none" spc="0" normalizeH="0" baseline="0" noProof="0">
                <a:ln>
                  <a:noFill/>
                </a:ln>
                <a:solidFill>
                  <a:srgbClr val="000000"/>
                </a:solidFill>
                <a:effectLst/>
                <a:uLnTx/>
                <a:uFillTx/>
                <a:latin typeface="+mn-ea"/>
                <a:cs typeface="+mn-cs"/>
              </a:rPr>
              <a:t>する機能</a:t>
            </a:r>
            <a:endParaRPr kumimoji="0" lang="en-US" altLang="ja-JP" sz="11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200" b="0" i="0" u="none" strike="noStrike" kern="0" cap="none" spc="0" normalizeH="0" baseline="0" noProof="0">
              <a:ln>
                <a:noFill/>
              </a:ln>
              <a:solidFill>
                <a:srgbClr val="000000"/>
              </a:solidFill>
              <a:effectLst/>
              <a:uLnTx/>
              <a:uFillTx/>
              <a:latin typeface="+mn-ea"/>
              <a:cs typeface="+mn-cs"/>
            </a:endParaRPr>
          </a:p>
        </p:txBody>
      </p:sp>
      <p:pic>
        <p:nvPicPr>
          <p:cNvPr id="2" name="図 1">
            <a:extLst>
              <a:ext uri="{FF2B5EF4-FFF2-40B4-BE49-F238E27FC236}">
                <a16:creationId xmlns:a16="http://schemas.microsoft.com/office/drawing/2014/main" id="{0F13CD61-51E6-E62F-F31A-18A4159B3751}"/>
              </a:ext>
            </a:extLst>
          </p:cNvPr>
          <p:cNvPicPr>
            <a:picLocks noChangeAspect="1"/>
          </p:cNvPicPr>
          <p:nvPr/>
        </p:nvPicPr>
        <p:blipFill>
          <a:blip r:embed="rId5"/>
          <a:stretch>
            <a:fillRect/>
          </a:stretch>
        </p:blipFill>
        <p:spPr>
          <a:xfrm>
            <a:off x="1497929" y="2317251"/>
            <a:ext cx="3676051" cy="3310729"/>
          </a:xfrm>
          <a:prstGeom prst="rect">
            <a:avLst/>
          </a:prstGeom>
        </p:spPr>
      </p:pic>
    </p:spTree>
    <p:extLst>
      <p:ext uri="{BB962C8B-B14F-4D97-AF65-F5344CB8AC3E}">
        <p14:creationId xmlns:p14="http://schemas.microsoft.com/office/powerpoint/2010/main" val="20394684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84D1DA-97ED-2719-33EF-A13650BDF7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2A84D1DA-97ED-2719-33EF-A13650BDF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C0CD4ED1-0F74-83B6-F4AC-8C87103B97BF}"/>
              </a:ext>
            </a:extLst>
          </p:cNvPr>
          <p:cNvSpPr>
            <a:spLocks noGrp="1"/>
          </p:cNvSpPr>
          <p:nvPr>
            <p:ph type="title"/>
          </p:nvPr>
        </p:nvSpPr>
        <p:spPr/>
        <p:txBody>
          <a:bodyPr vert="horz"/>
          <a:lstStyle/>
          <a:p>
            <a:r>
              <a:rPr lang="ja-JP" altLang="en-US"/>
              <a:t>２．機能要件</a:t>
            </a:r>
            <a:endParaRPr kumimoji="1" lang="ja-JP" altLang="en-US"/>
          </a:p>
        </p:txBody>
      </p:sp>
      <p:sp>
        <p:nvSpPr>
          <p:cNvPr id="3" name="テキスト プレースホルダー 4">
            <a:extLst>
              <a:ext uri="{FF2B5EF4-FFF2-40B4-BE49-F238E27FC236}">
                <a16:creationId xmlns:a16="http://schemas.microsoft.com/office/drawing/2014/main" id="{251B3422-0C83-F0E0-CEB5-1398EC9D9C0C}"/>
              </a:ext>
            </a:extLst>
          </p:cNvPr>
          <p:cNvSpPr txBox="1">
            <a:spLocks/>
          </p:cNvSpPr>
          <p:nvPr/>
        </p:nvSpPr>
        <p:spPr>
          <a:xfrm>
            <a:off x="251524" y="1052963"/>
            <a:ext cx="8640950" cy="36512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kumimoji="1" lang="ja-JP" altLang="en-US" sz="1800"/>
              <a:t>画面イメージ</a:t>
            </a:r>
            <a:endParaRPr kumimoji="1" lang="en-US" altLang="zh-TW"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28" name="スライド番号プレースホルダー 1">
            <a:extLst>
              <a:ext uri="{FF2B5EF4-FFF2-40B4-BE49-F238E27FC236}">
                <a16:creationId xmlns:a16="http://schemas.microsoft.com/office/drawing/2014/main" id="{B45C7C43-84BC-EB68-B34A-AAE39F6D8E9C}"/>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91" name="正方形/長方形 90">
            <a:extLst>
              <a:ext uri="{FF2B5EF4-FFF2-40B4-BE49-F238E27FC236}">
                <a16:creationId xmlns:a16="http://schemas.microsoft.com/office/drawing/2014/main" id="{6CE6E245-6D90-A273-F2A0-D60BE5CDAECB}"/>
              </a:ext>
            </a:extLst>
          </p:cNvPr>
          <p:cNvSpPr/>
          <p:nvPr/>
        </p:nvSpPr>
        <p:spPr>
          <a:xfrm>
            <a:off x="255605" y="1418087"/>
            <a:ext cx="8665427" cy="25841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FFFFFF"/>
                </a:solidFill>
                <a:effectLst/>
                <a:uLnTx/>
                <a:uFillTx/>
                <a:latin typeface="Arial"/>
                <a:ea typeface="游ゴシック Medium"/>
                <a:cs typeface="+mn-cs"/>
              </a:rPr>
              <a:t>マスタ（組管未登録会社）イメージ　　　　</a:t>
            </a:r>
          </a:p>
        </p:txBody>
      </p:sp>
      <p:sp>
        <p:nvSpPr>
          <p:cNvPr id="92" name="正方形/長方形 91">
            <a:extLst>
              <a:ext uri="{FF2B5EF4-FFF2-40B4-BE49-F238E27FC236}">
                <a16:creationId xmlns:a16="http://schemas.microsoft.com/office/drawing/2014/main" id="{FB29D3D2-993B-758A-AE64-338460FA6218}"/>
              </a:ext>
            </a:extLst>
          </p:cNvPr>
          <p:cNvSpPr/>
          <p:nvPr/>
        </p:nvSpPr>
        <p:spPr>
          <a:xfrm>
            <a:off x="7184454" y="1499045"/>
            <a:ext cx="1711088" cy="17346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700" b="0" i="0" u="none" strike="noStrike" kern="0" cap="none" spc="0" normalizeH="0" baseline="0" noProof="0">
                <a:ln>
                  <a:noFill/>
                </a:ln>
                <a:solidFill>
                  <a:srgbClr val="FFFFFF"/>
                </a:solidFill>
                <a:effectLst/>
                <a:uLnTx/>
                <a:uFillTx/>
                <a:latin typeface="Arial"/>
                <a:ea typeface="游ゴシック Medium"/>
                <a:cs typeface="+mn-cs"/>
              </a:rPr>
              <a:t>※</a:t>
            </a:r>
            <a:r>
              <a:rPr kumimoji="0" lang="ja-JP" altLang="en-US" sz="700" b="0" i="0" u="none" strike="noStrike" kern="0" cap="none" spc="0" normalizeH="0" baseline="0" noProof="0">
                <a:ln>
                  <a:noFill/>
                </a:ln>
                <a:solidFill>
                  <a:srgbClr val="FFFFFF"/>
                </a:solidFill>
                <a:effectLst/>
                <a:uLnTx/>
                <a:uFillTx/>
                <a:latin typeface="Arial"/>
                <a:ea typeface="游ゴシック Medium"/>
                <a:cs typeface="+mn-cs"/>
              </a:rPr>
              <a:t>現行システムの参考画面です</a:t>
            </a:r>
            <a:endParaRPr kumimoji="0" lang="ja-JP" altLang="en-US" sz="1100" b="0" i="0" u="none" strike="noStrike" kern="0" cap="none" spc="0" normalizeH="0" baseline="0" noProof="0">
              <a:ln>
                <a:noFill/>
              </a:ln>
              <a:solidFill>
                <a:srgbClr val="FFFFFF"/>
              </a:solidFill>
              <a:effectLst/>
              <a:uLnTx/>
              <a:uFillTx/>
              <a:latin typeface="Arial"/>
              <a:ea typeface="游ゴシック Medium"/>
              <a:cs typeface="+mn-cs"/>
            </a:endParaRPr>
          </a:p>
        </p:txBody>
      </p:sp>
      <p:sp>
        <p:nvSpPr>
          <p:cNvPr id="25" name="吹き出し: 線 (枠付き、強調線付き) 24">
            <a:extLst>
              <a:ext uri="{FF2B5EF4-FFF2-40B4-BE49-F238E27FC236}">
                <a16:creationId xmlns:a16="http://schemas.microsoft.com/office/drawing/2014/main" id="{0CD750F5-E3CB-4EA2-5BB2-32AFA06CD271}"/>
              </a:ext>
            </a:extLst>
          </p:cNvPr>
          <p:cNvSpPr/>
          <p:nvPr/>
        </p:nvSpPr>
        <p:spPr>
          <a:xfrm>
            <a:off x="1438275" y="2195975"/>
            <a:ext cx="3815107" cy="1733701"/>
          </a:xfrm>
          <a:prstGeom prst="accentBorderCallout1">
            <a:avLst>
              <a:gd name="adj1" fmla="val 5862"/>
              <a:gd name="adj2" fmla="val 104338"/>
              <a:gd name="adj3" fmla="val 5781"/>
              <a:gd name="adj4" fmla="val 116099"/>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30" name="正方形/長方形 29">
            <a:extLst>
              <a:ext uri="{FF2B5EF4-FFF2-40B4-BE49-F238E27FC236}">
                <a16:creationId xmlns:a16="http://schemas.microsoft.com/office/drawing/2014/main" id="{3448C59E-558C-342D-EA1A-7AE67789B08F}"/>
              </a:ext>
            </a:extLst>
          </p:cNvPr>
          <p:cNvSpPr/>
          <p:nvPr/>
        </p:nvSpPr>
        <p:spPr>
          <a:xfrm>
            <a:off x="5878996" y="2152795"/>
            <a:ext cx="1826729" cy="1948629"/>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sng" strike="noStrike" kern="0" cap="none" spc="0" normalizeH="0" baseline="0" noProof="0">
                <a:ln>
                  <a:noFill/>
                </a:ln>
                <a:solidFill>
                  <a:srgbClr val="000000"/>
                </a:solidFill>
                <a:effectLst/>
                <a:uLnTx/>
                <a:uFillTx/>
                <a:latin typeface="+mn-ea"/>
                <a:cs typeface="+mn-cs"/>
              </a:rPr>
              <a:t>品質情報のマスタ（組管未登録）を入力する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20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kern="0">
                <a:solidFill>
                  <a:srgbClr val="000000"/>
                </a:solidFill>
                <a:latin typeface="+mn-ea"/>
              </a:rPr>
              <a:t>会社登録</a:t>
            </a:r>
            <a:r>
              <a:rPr kumimoji="0" lang="ja-JP" altLang="en-US" sz="1100" b="0" i="0" u="none" strike="noStrike" kern="0" cap="none" spc="0" normalizeH="0" baseline="0" noProof="0">
                <a:ln>
                  <a:noFill/>
                </a:ln>
                <a:solidFill>
                  <a:srgbClr val="000000"/>
                </a:solidFill>
                <a:effectLst/>
                <a:uLnTx/>
                <a:uFillTx/>
                <a:latin typeface="+mn-ea"/>
                <a:cs typeface="+mn-cs"/>
              </a:rPr>
              <a:t>する機能</a:t>
            </a:r>
            <a:endParaRPr kumimoji="0" lang="en-US" altLang="ja-JP" sz="11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200" b="0" i="0" u="none" strike="noStrike" kern="0" cap="none" spc="0" normalizeH="0" baseline="0" noProof="0">
              <a:ln>
                <a:noFill/>
              </a:ln>
              <a:solidFill>
                <a:srgbClr val="000000"/>
              </a:solidFill>
              <a:effectLst/>
              <a:uLnTx/>
              <a:uFillTx/>
              <a:latin typeface="+mn-ea"/>
              <a:cs typeface="+mn-cs"/>
            </a:endParaRPr>
          </a:p>
        </p:txBody>
      </p:sp>
      <p:pic>
        <p:nvPicPr>
          <p:cNvPr id="2" name="図 1">
            <a:extLst>
              <a:ext uri="{FF2B5EF4-FFF2-40B4-BE49-F238E27FC236}">
                <a16:creationId xmlns:a16="http://schemas.microsoft.com/office/drawing/2014/main" id="{E7E2D8D6-2F16-8295-7AB9-EFA366863FA7}"/>
              </a:ext>
            </a:extLst>
          </p:cNvPr>
          <p:cNvPicPr>
            <a:picLocks noChangeAspect="1"/>
          </p:cNvPicPr>
          <p:nvPr/>
        </p:nvPicPr>
        <p:blipFill>
          <a:blip r:embed="rId5"/>
          <a:stretch>
            <a:fillRect/>
          </a:stretch>
        </p:blipFill>
        <p:spPr>
          <a:xfrm>
            <a:off x="1511052" y="2327427"/>
            <a:ext cx="3669552" cy="1456263"/>
          </a:xfrm>
          <a:prstGeom prst="rect">
            <a:avLst/>
          </a:prstGeom>
        </p:spPr>
      </p:pic>
    </p:spTree>
    <p:extLst>
      <p:ext uri="{BB962C8B-B14F-4D97-AF65-F5344CB8AC3E}">
        <p14:creationId xmlns:p14="http://schemas.microsoft.com/office/powerpoint/2010/main" val="20552036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84D1DA-97ED-2719-33EF-A13650BDF7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2A84D1DA-97ED-2719-33EF-A13650BDF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C0CD4ED1-0F74-83B6-F4AC-8C87103B97BF}"/>
              </a:ext>
            </a:extLst>
          </p:cNvPr>
          <p:cNvSpPr>
            <a:spLocks noGrp="1"/>
          </p:cNvSpPr>
          <p:nvPr>
            <p:ph type="title"/>
          </p:nvPr>
        </p:nvSpPr>
        <p:spPr/>
        <p:txBody>
          <a:bodyPr vert="horz"/>
          <a:lstStyle/>
          <a:p>
            <a:r>
              <a:rPr lang="ja-JP" altLang="en-US"/>
              <a:t>２．機能要件</a:t>
            </a:r>
            <a:endParaRPr kumimoji="1" lang="ja-JP" altLang="en-US"/>
          </a:p>
        </p:txBody>
      </p:sp>
      <p:sp>
        <p:nvSpPr>
          <p:cNvPr id="3" name="テキスト プレースホルダー 4">
            <a:extLst>
              <a:ext uri="{FF2B5EF4-FFF2-40B4-BE49-F238E27FC236}">
                <a16:creationId xmlns:a16="http://schemas.microsoft.com/office/drawing/2014/main" id="{251B3422-0C83-F0E0-CEB5-1398EC9D9C0C}"/>
              </a:ext>
            </a:extLst>
          </p:cNvPr>
          <p:cNvSpPr txBox="1">
            <a:spLocks/>
          </p:cNvSpPr>
          <p:nvPr/>
        </p:nvSpPr>
        <p:spPr>
          <a:xfrm>
            <a:off x="251524" y="1052963"/>
            <a:ext cx="8640950" cy="36512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kumimoji="1" lang="ja-JP" altLang="en-US" sz="1800"/>
              <a:t>画面イメージ</a:t>
            </a:r>
            <a:endParaRPr kumimoji="1" lang="en-US" altLang="zh-TW"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28" name="スライド番号プレースホルダー 1">
            <a:extLst>
              <a:ext uri="{FF2B5EF4-FFF2-40B4-BE49-F238E27FC236}">
                <a16:creationId xmlns:a16="http://schemas.microsoft.com/office/drawing/2014/main" id="{B45C7C43-84BC-EB68-B34A-AAE39F6D8E9C}"/>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34</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91" name="正方形/長方形 90">
            <a:extLst>
              <a:ext uri="{FF2B5EF4-FFF2-40B4-BE49-F238E27FC236}">
                <a16:creationId xmlns:a16="http://schemas.microsoft.com/office/drawing/2014/main" id="{6CE6E245-6D90-A273-F2A0-D60BE5CDAECB}"/>
              </a:ext>
            </a:extLst>
          </p:cNvPr>
          <p:cNvSpPr/>
          <p:nvPr/>
        </p:nvSpPr>
        <p:spPr>
          <a:xfrm>
            <a:off x="255605" y="1418087"/>
            <a:ext cx="8665427" cy="25841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FFFFFF"/>
                </a:solidFill>
                <a:effectLst/>
                <a:uLnTx/>
                <a:uFillTx/>
                <a:latin typeface="Arial"/>
                <a:ea typeface="游ゴシック Medium"/>
                <a:cs typeface="+mn-cs"/>
              </a:rPr>
              <a:t>管理者用（</a:t>
            </a:r>
            <a:r>
              <a:rPr kumimoji="0" lang="en-US" altLang="ja-JP" sz="1200" b="0" i="0" u="none" strike="noStrike" kern="0" cap="none" spc="0" normalizeH="0" baseline="0" noProof="0">
                <a:ln>
                  <a:noFill/>
                </a:ln>
                <a:solidFill>
                  <a:srgbClr val="FFFFFF"/>
                </a:solidFill>
                <a:effectLst/>
                <a:uLnTx/>
                <a:uFillTx/>
                <a:latin typeface="Arial"/>
                <a:ea typeface="游ゴシック Medium"/>
                <a:cs typeface="+mn-cs"/>
              </a:rPr>
              <a:t>DB</a:t>
            </a:r>
            <a:r>
              <a:rPr kumimoji="0" lang="ja-JP" altLang="en-US" sz="1200" b="0" i="0" u="none" strike="noStrike" kern="0" cap="none" spc="0" normalizeH="0" baseline="0" noProof="0">
                <a:ln>
                  <a:noFill/>
                </a:ln>
                <a:solidFill>
                  <a:srgbClr val="FFFFFF"/>
                </a:solidFill>
                <a:effectLst/>
                <a:uLnTx/>
                <a:uFillTx/>
                <a:latin typeface="Arial"/>
                <a:ea typeface="游ゴシック Medium"/>
                <a:cs typeface="+mn-cs"/>
              </a:rPr>
              <a:t>情報）イメージ　　　　</a:t>
            </a:r>
          </a:p>
        </p:txBody>
      </p:sp>
      <p:sp>
        <p:nvSpPr>
          <p:cNvPr id="92" name="正方形/長方形 91">
            <a:extLst>
              <a:ext uri="{FF2B5EF4-FFF2-40B4-BE49-F238E27FC236}">
                <a16:creationId xmlns:a16="http://schemas.microsoft.com/office/drawing/2014/main" id="{FB29D3D2-993B-758A-AE64-338460FA6218}"/>
              </a:ext>
            </a:extLst>
          </p:cNvPr>
          <p:cNvSpPr/>
          <p:nvPr/>
        </p:nvSpPr>
        <p:spPr>
          <a:xfrm>
            <a:off x="7184454" y="1499045"/>
            <a:ext cx="1711088" cy="17346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700" b="0" i="0" u="none" strike="noStrike" kern="0" cap="none" spc="0" normalizeH="0" baseline="0" noProof="0">
                <a:ln>
                  <a:noFill/>
                </a:ln>
                <a:solidFill>
                  <a:srgbClr val="FFFFFF"/>
                </a:solidFill>
                <a:effectLst/>
                <a:uLnTx/>
                <a:uFillTx/>
                <a:latin typeface="Arial"/>
                <a:ea typeface="游ゴシック Medium"/>
                <a:cs typeface="+mn-cs"/>
              </a:rPr>
              <a:t>※</a:t>
            </a:r>
            <a:r>
              <a:rPr kumimoji="0" lang="ja-JP" altLang="en-US" sz="700" b="0" i="0" u="none" strike="noStrike" kern="0" cap="none" spc="0" normalizeH="0" baseline="0" noProof="0">
                <a:ln>
                  <a:noFill/>
                </a:ln>
                <a:solidFill>
                  <a:srgbClr val="FFFFFF"/>
                </a:solidFill>
                <a:effectLst/>
                <a:uLnTx/>
                <a:uFillTx/>
                <a:latin typeface="Arial"/>
                <a:ea typeface="游ゴシック Medium"/>
                <a:cs typeface="+mn-cs"/>
              </a:rPr>
              <a:t>現行システムの参考画面です</a:t>
            </a:r>
            <a:endParaRPr kumimoji="0" lang="ja-JP" altLang="en-US" sz="1100" b="0" i="0" u="none" strike="noStrike" kern="0" cap="none" spc="0" normalizeH="0" baseline="0" noProof="0">
              <a:ln>
                <a:noFill/>
              </a:ln>
              <a:solidFill>
                <a:srgbClr val="FFFFFF"/>
              </a:solidFill>
              <a:effectLst/>
              <a:uLnTx/>
              <a:uFillTx/>
              <a:latin typeface="Arial"/>
              <a:ea typeface="游ゴシック Medium"/>
              <a:cs typeface="+mn-cs"/>
            </a:endParaRPr>
          </a:p>
        </p:txBody>
      </p:sp>
      <p:sp>
        <p:nvSpPr>
          <p:cNvPr id="25" name="吹き出し: 線 (枠付き、強調線付き) 24">
            <a:extLst>
              <a:ext uri="{FF2B5EF4-FFF2-40B4-BE49-F238E27FC236}">
                <a16:creationId xmlns:a16="http://schemas.microsoft.com/office/drawing/2014/main" id="{0CD750F5-E3CB-4EA2-5BB2-32AFA06CD271}"/>
              </a:ext>
            </a:extLst>
          </p:cNvPr>
          <p:cNvSpPr/>
          <p:nvPr/>
        </p:nvSpPr>
        <p:spPr>
          <a:xfrm>
            <a:off x="279134" y="1718998"/>
            <a:ext cx="3048851" cy="2368452"/>
          </a:xfrm>
          <a:prstGeom prst="accentBorderCallout1">
            <a:avLst>
              <a:gd name="adj1" fmla="val 5862"/>
              <a:gd name="adj2" fmla="val 104338"/>
              <a:gd name="adj3" fmla="val 5781"/>
              <a:gd name="adj4" fmla="val 116099"/>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30" name="正方形/長方形 29">
            <a:extLst>
              <a:ext uri="{FF2B5EF4-FFF2-40B4-BE49-F238E27FC236}">
                <a16:creationId xmlns:a16="http://schemas.microsoft.com/office/drawing/2014/main" id="{3448C59E-558C-342D-EA1A-7AE67789B08F}"/>
              </a:ext>
            </a:extLst>
          </p:cNvPr>
          <p:cNvSpPr/>
          <p:nvPr/>
        </p:nvSpPr>
        <p:spPr>
          <a:xfrm>
            <a:off x="3473189" y="1872236"/>
            <a:ext cx="1266188" cy="1948629"/>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sng" strike="noStrike" kern="0" cap="none" spc="0" normalizeH="0" baseline="0" noProof="0">
                <a:ln>
                  <a:noFill/>
                </a:ln>
                <a:solidFill>
                  <a:srgbClr val="000000"/>
                </a:solidFill>
                <a:effectLst/>
                <a:uLnTx/>
                <a:uFillTx/>
                <a:latin typeface="+mn-ea"/>
                <a:cs typeface="+mn-cs"/>
              </a:rPr>
              <a:t>各文書に共通する設定を入力する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20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0" cap="none" spc="0" normalizeH="0" baseline="0" noProof="0">
                <a:ln>
                  <a:noFill/>
                </a:ln>
                <a:solidFill>
                  <a:srgbClr val="000000"/>
                </a:solidFill>
                <a:effectLst/>
                <a:uLnTx/>
                <a:uFillTx/>
                <a:latin typeface="+mn-ea"/>
                <a:cs typeface="+mn-cs"/>
              </a:rPr>
              <a:t>文書の設定をする機能</a:t>
            </a:r>
            <a:endParaRPr kumimoji="0" lang="en-US" altLang="ja-JP" sz="11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200" b="0" i="0" u="none" strike="noStrike" kern="0" cap="none" spc="0" normalizeH="0" baseline="0" noProof="0">
              <a:ln>
                <a:noFill/>
              </a:ln>
              <a:solidFill>
                <a:srgbClr val="000000"/>
              </a:solidFill>
              <a:effectLst/>
              <a:uLnTx/>
              <a:uFillTx/>
              <a:latin typeface="+mn-ea"/>
              <a:cs typeface="+mn-cs"/>
            </a:endParaRPr>
          </a:p>
        </p:txBody>
      </p:sp>
      <p:pic>
        <p:nvPicPr>
          <p:cNvPr id="2" name="図 1">
            <a:extLst>
              <a:ext uri="{FF2B5EF4-FFF2-40B4-BE49-F238E27FC236}">
                <a16:creationId xmlns:a16="http://schemas.microsoft.com/office/drawing/2014/main" id="{C9B66B76-9639-2E08-8AED-0AA12D74685D}"/>
              </a:ext>
            </a:extLst>
          </p:cNvPr>
          <p:cNvPicPr>
            <a:picLocks noChangeAspect="1"/>
          </p:cNvPicPr>
          <p:nvPr/>
        </p:nvPicPr>
        <p:blipFill>
          <a:blip r:embed="rId5"/>
          <a:stretch>
            <a:fillRect/>
          </a:stretch>
        </p:blipFill>
        <p:spPr>
          <a:xfrm>
            <a:off x="319947" y="1861919"/>
            <a:ext cx="2928371" cy="2052672"/>
          </a:xfrm>
          <a:prstGeom prst="rect">
            <a:avLst/>
          </a:prstGeom>
        </p:spPr>
      </p:pic>
      <p:pic>
        <p:nvPicPr>
          <p:cNvPr id="6" name="図 5">
            <a:extLst>
              <a:ext uri="{FF2B5EF4-FFF2-40B4-BE49-F238E27FC236}">
                <a16:creationId xmlns:a16="http://schemas.microsoft.com/office/drawing/2014/main" id="{4E624490-0F2C-D065-D8DA-F2FEFA6DD56D}"/>
              </a:ext>
            </a:extLst>
          </p:cNvPr>
          <p:cNvPicPr>
            <a:picLocks noChangeAspect="1"/>
          </p:cNvPicPr>
          <p:nvPr/>
        </p:nvPicPr>
        <p:blipFill>
          <a:blip r:embed="rId6"/>
          <a:stretch>
            <a:fillRect/>
          </a:stretch>
        </p:blipFill>
        <p:spPr>
          <a:xfrm>
            <a:off x="4774776" y="1800268"/>
            <a:ext cx="2960370" cy="2825808"/>
          </a:xfrm>
          <a:prstGeom prst="rect">
            <a:avLst/>
          </a:prstGeom>
        </p:spPr>
      </p:pic>
      <p:pic>
        <p:nvPicPr>
          <p:cNvPr id="8" name="図 7">
            <a:extLst>
              <a:ext uri="{FF2B5EF4-FFF2-40B4-BE49-F238E27FC236}">
                <a16:creationId xmlns:a16="http://schemas.microsoft.com/office/drawing/2014/main" id="{98D6103D-A34E-6B76-8647-68F7980A563C}"/>
              </a:ext>
            </a:extLst>
          </p:cNvPr>
          <p:cNvPicPr>
            <a:picLocks noChangeAspect="1"/>
          </p:cNvPicPr>
          <p:nvPr/>
        </p:nvPicPr>
        <p:blipFill>
          <a:blip r:embed="rId7"/>
          <a:stretch>
            <a:fillRect/>
          </a:stretch>
        </p:blipFill>
        <p:spPr>
          <a:xfrm>
            <a:off x="319947" y="4100333"/>
            <a:ext cx="2928371" cy="2239580"/>
          </a:xfrm>
          <a:prstGeom prst="rect">
            <a:avLst/>
          </a:prstGeom>
        </p:spPr>
      </p:pic>
      <p:sp>
        <p:nvSpPr>
          <p:cNvPr id="9" name="吹き出し: 線 (枠付き、強調線付き) 8">
            <a:extLst>
              <a:ext uri="{FF2B5EF4-FFF2-40B4-BE49-F238E27FC236}">
                <a16:creationId xmlns:a16="http://schemas.microsoft.com/office/drawing/2014/main" id="{33BE2EFF-2B92-69D3-08D9-3D24D25A1235}"/>
              </a:ext>
            </a:extLst>
          </p:cNvPr>
          <p:cNvSpPr/>
          <p:nvPr/>
        </p:nvSpPr>
        <p:spPr>
          <a:xfrm>
            <a:off x="279134" y="4082103"/>
            <a:ext cx="3048851" cy="2368452"/>
          </a:xfrm>
          <a:prstGeom prst="accentBorderCallout1">
            <a:avLst>
              <a:gd name="adj1" fmla="val 5862"/>
              <a:gd name="adj2" fmla="val 104338"/>
              <a:gd name="adj3" fmla="val 5781"/>
              <a:gd name="adj4" fmla="val 116099"/>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10" name="正方形/長方形 9">
            <a:extLst>
              <a:ext uri="{FF2B5EF4-FFF2-40B4-BE49-F238E27FC236}">
                <a16:creationId xmlns:a16="http://schemas.microsoft.com/office/drawing/2014/main" id="{94307921-BF3C-2D2B-4FBB-516451744E86}"/>
              </a:ext>
            </a:extLst>
          </p:cNvPr>
          <p:cNvSpPr/>
          <p:nvPr/>
        </p:nvSpPr>
        <p:spPr>
          <a:xfrm>
            <a:off x="3473189" y="4401644"/>
            <a:ext cx="1266188" cy="1948629"/>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u="sng" kern="0">
                <a:solidFill>
                  <a:srgbClr val="000000"/>
                </a:solidFill>
                <a:latin typeface="+mn-ea"/>
              </a:rPr>
              <a:t>製品規格書文書・締結版文書情報</a:t>
            </a:r>
            <a:r>
              <a:rPr kumimoji="0" lang="ja-JP" altLang="en-US" sz="1200" b="0" i="0" u="sng" strike="noStrike" kern="0" cap="none" spc="0" normalizeH="0" baseline="0" noProof="0">
                <a:ln>
                  <a:noFill/>
                </a:ln>
                <a:solidFill>
                  <a:srgbClr val="000000"/>
                </a:solidFill>
                <a:effectLst/>
                <a:uLnTx/>
                <a:uFillTx/>
                <a:latin typeface="+mn-ea"/>
                <a:cs typeface="+mn-cs"/>
              </a:rPr>
              <a:t>を入力する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20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0" cap="none" spc="0" normalizeH="0" baseline="0" noProof="0">
                <a:ln>
                  <a:noFill/>
                </a:ln>
                <a:solidFill>
                  <a:srgbClr val="000000"/>
                </a:solidFill>
                <a:effectLst/>
                <a:uLnTx/>
                <a:uFillTx/>
                <a:latin typeface="+mn-ea"/>
                <a:cs typeface="+mn-cs"/>
              </a:rPr>
              <a:t>文書の設定をする機能</a:t>
            </a:r>
            <a:endParaRPr kumimoji="0" lang="en-US" altLang="ja-JP" sz="11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200" b="0" i="0" u="none" strike="noStrike" kern="0" cap="none" spc="0" normalizeH="0" baseline="0" noProof="0">
              <a:ln>
                <a:noFill/>
              </a:ln>
              <a:solidFill>
                <a:srgbClr val="000000"/>
              </a:solidFill>
              <a:effectLst/>
              <a:uLnTx/>
              <a:uFillTx/>
              <a:latin typeface="+mn-ea"/>
              <a:cs typeface="+mn-cs"/>
            </a:endParaRPr>
          </a:p>
        </p:txBody>
      </p:sp>
      <p:sp>
        <p:nvSpPr>
          <p:cNvPr id="13" name="吹き出し: 線 (枠付き、強調線付き) 12">
            <a:extLst>
              <a:ext uri="{FF2B5EF4-FFF2-40B4-BE49-F238E27FC236}">
                <a16:creationId xmlns:a16="http://schemas.microsoft.com/office/drawing/2014/main" id="{12E5C4D2-D39E-637C-3AEB-ED897B184EA1}"/>
              </a:ext>
            </a:extLst>
          </p:cNvPr>
          <p:cNvSpPr/>
          <p:nvPr/>
        </p:nvSpPr>
        <p:spPr>
          <a:xfrm>
            <a:off x="4726717" y="1718998"/>
            <a:ext cx="3048851" cy="2995242"/>
          </a:xfrm>
          <a:prstGeom prst="accentBorderCallout1">
            <a:avLst>
              <a:gd name="adj1" fmla="val 5862"/>
              <a:gd name="adj2" fmla="val 104338"/>
              <a:gd name="adj3" fmla="val 5781"/>
              <a:gd name="adj4" fmla="val 116099"/>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14" name="正方形/長方形 13">
            <a:extLst>
              <a:ext uri="{FF2B5EF4-FFF2-40B4-BE49-F238E27FC236}">
                <a16:creationId xmlns:a16="http://schemas.microsoft.com/office/drawing/2014/main" id="{F000ED2C-4B6D-2C0C-F4F7-D1256B4BBDCE}"/>
              </a:ext>
            </a:extLst>
          </p:cNvPr>
          <p:cNvSpPr/>
          <p:nvPr/>
        </p:nvSpPr>
        <p:spPr>
          <a:xfrm>
            <a:off x="7891450" y="1939968"/>
            <a:ext cx="1266188" cy="1948629"/>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u="sng" kern="0">
                <a:solidFill>
                  <a:srgbClr val="000000"/>
                </a:solidFill>
                <a:latin typeface="+mn-ea"/>
              </a:rPr>
              <a:t>納入仕様書ワークフロー文書情報</a:t>
            </a:r>
            <a:r>
              <a:rPr kumimoji="0" lang="ja-JP" altLang="en-US" sz="1200" b="0" i="0" u="sng" strike="noStrike" kern="0" cap="none" spc="0" normalizeH="0" baseline="0" noProof="0">
                <a:ln>
                  <a:noFill/>
                </a:ln>
                <a:solidFill>
                  <a:srgbClr val="000000"/>
                </a:solidFill>
                <a:effectLst/>
                <a:uLnTx/>
                <a:uFillTx/>
                <a:latin typeface="+mn-ea"/>
                <a:cs typeface="+mn-cs"/>
              </a:rPr>
              <a:t>を入力する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20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0" cap="none" spc="0" normalizeH="0" baseline="0" noProof="0">
                <a:ln>
                  <a:noFill/>
                </a:ln>
                <a:solidFill>
                  <a:srgbClr val="000000"/>
                </a:solidFill>
                <a:effectLst/>
                <a:uLnTx/>
                <a:uFillTx/>
                <a:latin typeface="+mn-ea"/>
                <a:cs typeface="+mn-cs"/>
              </a:rPr>
              <a:t>文書の設定をする機能</a:t>
            </a:r>
            <a:endParaRPr kumimoji="0" lang="en-US" altLang="ja-JP" sz="11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200" b="0" i="0" u="none" strike="noStrike" kern="0" cap="none" spc="0" normalizeH="0" baseline="0" noProof="0">
              <a:ln>
                <a:noFill/>
              </a:ln>
              <a:solidFill>
                <a:srgbClr val="000000"/>
              </a:solidFill>
              <a:effectLst/>
              <a:uLnTx/>
              <a:uFillTx/>
              <a:latin typeface="+mn-ea"/>
              <a:cs typeface="+mn-cs"/>
            </a:endParaRPr>
          </a:p>
        </p:txBody>
      </p:sp>
    </p:spTree>
    <p:extLst>
      <p:ext uri="{BB962C8B-B14F-4D97-AF65-F5344CB8AC3E}">
        <p14:creationId xmlns:p14="http://schemas.microsoft.com/office/powerpoint/2010/main" val="27379101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84D1DA-97ED-2719-33EF-A13650BDF7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2A84D1DA-97ED-2719-33EF-A13650BDF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C0CD4ED1-0F74-83B6-F4AC-8C87103B97BF}"/>
              </a:ext>
            </a:extLst>
          </p:cNvPr>
          <p:cNvSpPr>
            <a:spLocks noGrp="1"/>
          </p:cNvSpPr>
          <p:nvPr>
            <p:ph type="title"/>
          </p:nvPr>
        </p:nvSpPr>
        <p:spPr/>
        <p:txBody>
          <a:bodyPr vert="horz"/>
          <a:lstStyle/>
          <a:p>
            <a:r>
              <a:rPr lang="ja-JP" altLang="en-US"/>
              <a:t>２．機能要件</a:t>
            </a:r>
            <a:endParaRPr kumimoji="1" lang="ja-JP" altLang="en-US"/>
          </a:p>
        </p:txBody>
      </p:sp>
      <p:sp>
        <p:nvSpPr>
          <p:cNvPr id="3" name="テキスト プレースホルダー 4">
            <a:extLst>
              <a:ext uri="{FF2B5EF4-FFF2-40B4-BE49-F238E27FC236}">
                <a16:creationId xmlns:a16="http://schemas.microsoft.com/office/drawing/2014/main" id="{251B3422-0C83-F0E0-CEB5-1398EC9D9C0C}"/>
              </a:ext>
            </a:extLst>
          </p:cNvPr>
          <p:cNvSpPr txBox="1">
            <a:spLocks/>
          </p:cNvSpPr>
          <p:nvPr/>
        </p:nvSpPr>
        <p:spPr>
          <a:xfrm>
            <a:off x="251524" y="1052963"/>
            <a:ext cx="8640950" cy="36512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kumimoji="1" lang="ja-JP" altLang="en-US" sz="1800"/>
              <a:t>画面イメージ</a:t>
            </a:r>
            <a:endParaRPr kumimoji="1" lang="en-US" altLang="zh-TW"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28" name="スライド番号プレースホルダー 1">
            <a:extLst>
              <a:ext uri="{FF2B5EF4-FFF2-40B4-BE49-F238E27FC236}">
                <a16:creationId xmlns:a16="http://schemas.microsoft.com/office/drawing/2014/main" id="{B45C7C43-84BC-EB68-B34A-AAE39F6D8E9C}"/>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35</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91" name="正方形/長方形 90">
            <a:extLst>
              <a:ext uri="{FF2B5EF4-FFF2-40B4-BE49-F238E27FC236}">
                <a16:creationId xmlns:a16="http://schemas.microsoft.com/office/drawing/2014/main" id="{6CE6E245-6D90-A273-F2A0-D60BE5CDAECB}"/>
              </a:ext>
            </a:extLst>
          </p:cNvPr>
          <p:cNvSpPr/>
          <p:nvPr/>
        </p:nvSpPr>
        <p:spPr>
          <a:xfrm>
            <a:off x="255605" y="1418087"/>
            <a:ext cx="8665427" cy="25841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FFFFFF"/>
                </a:solidFill>
                <a:effectLst/>
                <a:uLnTx/>
                <a:uFillTx/>
                <a:latin typeface="Arial"/>
                <a:ea typeface="游ゴシック Medium"/>
                <a:cs typeface="+mn-cs"/>
              </a:rPr>
              <a:t>管理者用（システム管理者）イメージ　　　　</a:t>
            </a:r>
          </a:p>
        </p:txBody>
      </p:sp>
      <p:sp>
        <p:nvSpPr>
          <p:cNvPr id="92" name="正方形/長方形 91">
            <a:extLst>
              <a:ext uri="{FF2B5EF4-FFF2-40B4-BE49-F238E27FC236}">
                <a16:creationId xmlns:a16="http://schemas.microsoft.com/office/drawing/2014/main" id="{FB29D3D2-993B-758A-AE64-338460FA6218}"/>
              </a:ext>
            </a:extLst>
          </p:cNvPr>
          <p:cNvSpPr/>
          <p:nvPr/>
        </p:nvSpPr>
        <p:spPr>
          <a:xfrm>
            <a:off x="7184454" y="1499045"/>
            <a:ext cx="1711088" cy="17346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700" b="0" i="0" u="none" strike="noStrike" kern="0" cap="none" spc="0" normalizeH="0" baseline="0" noProof="0">
                <a:ln>
                  <a:noFill/>
                </a:ln>
                <a:solidFill>
                  <a:srgbClr val="FFFFFF"/>
                </a:solidFill>
                <a:effectLst/>
                <a:uLnTx/>
                <a:uFillTx/>
                <a:latin typeface="Arial"/>
                <a:ea typeface="游ゴシック Medium"/>
                <a:cs typeface="+mn-cs"/>
              </a:rPr>
              <a:t>※</a:t>
            </a:r>
            <a:r>
              <a:rPr kumimoji="0" lang="ja-JP" altLang="en-US" sz="700" b="0" i="0" u="none" strike="noStrike" kern="0" cap="none" spc="0" normalizeH="0" baseline="0" noProof="0">
                <a:ln>
                  <a:noFill/>
                </a:ln>
                <a:solidFill>
                  <a:srgbClr val="FFFFFF"/>
                </a:solidFill>
                <a:effectLst/>
                <a:uLnTx/>
                <a:uFillTx/>
                <a:latin typeface="Arial"/>
                <a:ea typeface="游ゴシック Medium"/>
                <a:cs typeface="+mn-cs"/>
              </a:rPr>
              <a:t>現行システムの参考画面です</a:t>
            </a:r>
            <a:endParaRPr kumimoji="0" lang="ja-JP" altLang="en-US" sz="1100" b="0" i="0" u="none" strike="noStrike" kern="0" cap="none" spc="0" normalizeH="0" baseline="0" noProof="0">
              <a:ln>
                <a:noFill/>
              </a:ln>
              <a:solidFill>
                <a:srgbClr val="FFFFFF"/>
              </a:solidFill>
              <a:effectLst/>
              <a:uLnTx/>
              <a:uFillTx/>
              <a:latin typeface="Arial"/>
              <a:ea typeface="游ゴシック Medium"/>
              <a:cs typeface="+mn-cs"/>
            </a:endParaRPr>
          </a:p>
        </p:txBody>
      </p:sp>
      <p:sp>
        <p:nvSpPr>
          <p:cNvPr id="25" name="吹き出し: 線 (枠付き、強調線付き) 24">
            <a:extLst>
              <a:ext uri="{FF2B5EF4-FFF2-40B4-BE49-F238E27FC236}">
                <a16:creationId xmlns:a16="http://schemas.microsoft.com/office/drawing/2014/main" id="{0CD750F5-E3CB-4EA2-5BB2-32AFA06CD271}"/>
              </a:ext>
            </a:extLst>
          </p:cNvPr>
          <p:cNvSpPr/>
          <p:nvPr/>
        </p:nvSpPr>
        <p:spPr>
          <a:xfrm>
            <a:off x="1438275" y="2195975"/>
            <a:ext cx="3815107" cy="1733701"/>
          </a:xfrm>
          <a:prstGeom prst="accentBorderCallout1">
            <a:avLst>
              <a:gd name="adj1" fmla="val 5862"/>
              <a:gd name="adj2" fmla="val 104338"/>
              <a:gd name="adj3" fmla="val 5781"/>
              <a:gd name="adj4" fmla="val 116099"/>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30" name="正方形/長方形 29">
            <a:extLst>
              <a:ext uri="{FF2B5EF4-FFF2-40B4-BE49-F238E27FC236}">
                <a16:creationId xmlns:a16="http://schemas.microsoft.com/office/drawing/2014/main" id="{3448C59E-558C-342D-EA1A-7AE67789B08F}"/>
              </a:ext>
            </a:extLst>
          </p:cNvPr>
          <p:cNvSpPr/>
          <p:nvPr/>
        </p:nvSpPr>
        <p:spPr>
          <a:xfrm>
            <a:off x="5878996" y="2152795"/>
            <a:ext cx="1826729" cy="1948629"/>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u="sng" kern="0">
                <a:solidFill>
                  <a:srgbClr val="000000"/>
                </a:solidFill>
                <a:latin typeface="+mn-ea"/>
              </a:rPr>
              <a:t>管理者用（システム管理者）</a:t>
            </a:r>
            <a:r>
              <a:rPr kumimoji="0" lang="ja-JP" altLang="en-US" sz="1200" b="0" i="0" u="sng" strike="noStrike" kern="0" cap="none" spc="0" normalizeH="0" baseline="0" noProof="0">
                <a:ln>
                  <a:noFill/>
                </a:ln>
                <a:solidFill>
                  <a:srgbClr val="000000"/>
                </a:solidFill>
                <a:effectLst/>
                <a:uLnTx/>
                <a:uFillTx/>
                <a:latin typeface="+mn-ea"/>
                <a:cs typeface="+mn-cs"/>
              </a:rPr>
              <a:t>を入力する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20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kern="0">
                <a:solidFill>
                  <a:srgbClr val="000000"/>
                </a:solidFill>
                <a:latin typeface="+mn-ea"/>
              </a:rPr>
              <a:t>管理者を変更・追加・削除</a:t>
            </a:r>
            <a:r>
              <a:rPr kumimoji="0" lang="ja-JP" altLang="en-US" sz="1100" b="0" i="0" u="none" strike="noStrike" kern="0" cap="none" spc="0" normalizeH="0" baseline="0" noProof="0">
                <a:ln>
                  <a:noFill/>
                </a:ln>
                <a:solidFill>
                  <a:srgbClr val="000000"/>
                </a:solidFill>
                <a:effectLst/>
                <a:uLnTx/>
                <a:uFillTx/>
                <a:latin typeface="+mn-ea"/>
                <a:cs typeface="+mn-cs"/>
              </a:rPr>
              <a:t>する機能</a:t>
            </a: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200" b="0" i="0" u="none" strike="noStrike" kern="0" cap="none" spc="0" normalizeH="0" baseline="0" noProof="0">
              <a:ln>
                <a:noFill/>
              </a:ln>
              <a:solidFill>
                <a:srgbClr val="000000"/>
              </a:solidFill>
              <a:effectLst/>
              <a:uLnTx/>
              <a:uFillTx/>
              <a:latin typeface="+mn-ea"/>
              <a:cs typeface="+mn-cs"/>
            </a:endParaRPr>
          </a:p>
        </p:txBody>
      </p:sp>
      <p:pic>
        <p:nvPicPr>
          <p:cNvPr id="2" name="図 1">
            <a:extLst>
              <a:ext uri="{FF2B5EF4-FFF2-40B4-BE49-F238E27FC236}">
                <a16:creationId xmlns:a16="http://schemas.microsoft.com/office/drawing/2014/main" id="{ABD7E9A7-7F72-41A2-CF35-445EF875FF5B}"/>
              </a:ext>
            </a:extLst>
          </p:cNvPr>
          <p:cNvPicPr>
            <a:picLocks noChangeAspect="1"/>
          </p:cNvPicPr>
          <p:nvPr/>
        </p:nvPicPr>
        <p:blipFill>
          <a:blip r:embed="rId5"/>
          <a:stretch>
            <a:fillRect/>
          </a:stretch>
        </p:blipFill>
        <p:spPr>
          <a:xfrm>
            <a:off x="1476588" y="2243366"/>
            <a:ext cx="3742929" cy="1645381"/>
          </a:xfrm>
          <a:prstGeom prst="rect">
            <a:avLst/>
          </a:prstGeom>
        </p:spPr>
      </p:pic>
    </p:spTree>
    <p:extLst>
      <p:ext uri="{BB962C8B-B14F-4D97-AF65-F5344CB8AC3E}">
        <p14:creationId xmlns:p14="http://schemas.microsoft.com/office/powerpoint/2010/main" val="29551338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84D1DA-97ED-2719-33EF-A13650BDF7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2A84D1DA-97ED-2719-33EF-A13650BDF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C0CD4ED1-0F74-83B6-F4AC-8C87103B97BF}"/>
              </a:ext>
            </a:extLst>
          </p:cNvPr>
          <p:cNvSpPr>
            <a:spLocks noGrp="1"/>
          </p:cNvSpPr>
          <p:nvPr>
            <p:ph type="title"/>
          </p:nvPr>
        </p:nvSpPr>
        <p:spPr/>
        <p:txBody>
          <a:bodyPr vert="horz"/>
          <a:lstStyle/>
          <a:p>
            <a:r>
              <a:rPr lang="ja-JP" altLang="en-US"/>
              <a:t>２．機能要件</a:t>
            </a:r>
            <a:endParaRPr kumimoji="1" lang="ja-JP" altLang="en-US"/>
          </a:p>
        </p:txBody>
      </p:sp>
      <p:sp>
        <p:nvSpPr>
          <p:cNvPr id="3" name="テキスト プレースホルダー 4">
            <a:extLst>
              <a:ext uri="{FF2B5EF4-FFF2-40B4-BE49-F238E27FC236}">
                <a16:creationId xmlns:a16="http://schemas.microsoft.com/office/drawing/2014/main" id="{251B3422-0C83-F0E0-CEB5-1398EC9D9C0C}"/>
              </a:ext>
            </a:extLst>
          </p:cNvPr>
          <p:cNvSpPr txBox="1">
            <a:spLocks/>
          </p:cNvSpPr>
          <p:nvPr/>
        </p:nvSpPr>
        <p:spPr>
          <a:xfrm>
            <a:off x="251524" y="1052963"/>
            <a:ext cx="8640950" cy="36512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kumimoji="1" lang="ja-JP" altLang="en-US" sz="1800"/>
              <a:t>画面イメージ</a:t>
            </a:r>
            <a:endParaRPr kumimoji="1" lang="en-US" altLang="zh-TW"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28" name="スライド番号プレースホルダー 1">
            <a:extLst>
              <a:ext uri="{FF2B5EF4-FFF2-40B4-BE49-F238E27FC236}">
                <a16:creationId xmlns:a16="http://schemas.microsoft.com/office/drawing/2014/main" id="{B45C7C43-84BC-EB68-B34A-AAE39F6D8E9C}"/>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91" name="正方形/長方形 90">
            <a:extLst>
              <a:ext uri="{FF2B5EF4-FFF2-40B4-BE49-F238E27FC236}">
                <a16:creationId xmlns:a16="http://schemas.microsoft.com/office/drawing/2014/main" id="{6CE6E245-6D90-A273-F2A0-D60BE5CDAECB}"/>
              </a:ext>
            </a:extLst>
          </p:cNvPr>
          <p:cNvSpPr/>
          <p:nvPr/>
        </p:nvSpPr>
        <p:spPr>
          <a:xfrm>
            <a:off x="255605" y="1418087"/>
            <a:ext cx="8665427" cy="25841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FFFFFF"/>
                </a:solidFill>
                <a:effectLst/>
                <a:uLnTx/>
                <a:uFillTx/>
                <a:latin typeface="Arial"/>
                <a:ea typeface="游ゴシック Medium"/>
                <a:cs typeface="+mn-cs"/>
              </a:rPr>
              <a:t>管理者用（事業部）イメージ　　　　</a:t>
            </a:r>
          </a:p>
        </p:txBody>
      </p:sp>
      <p:sp>
        <p:nvSpPr>
          <p:cNvPr id="92" name="正方形/長方形 91">
            <a:extLst>
              <a:ext uri="{FF2B5EF4-FFF2-40B4-BE49-F238E27FC236}">
                <a16:creationId xmlns:a16="http://schemas.microsoft.com/office/drawing/2014/main" id="{FB29D3D2-993B-758A-AE64-338460FA6218}"/>
              </a:ext>
            </a:extLst>
          </p:cNvPr>
          <p:cNvSpPr/>
          <p:nvPr/>
        </p:nvSpPr>
        <p:spPr>
          <a:xfrm>
            <a:off x="7184454" y="1499045"/>
            <a:ext cx="1711088" cy="17346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700" b="0" i="0" u="none" strike="noStrike" kern="0" cap="none" spc="0" normalizeH="0" baseline="0" noProof="0">
                <a:ln>
                  <a:noFill/>
                </a:ln>
                <a:solidFill>
                  <a:srgbClr val="FFFFFF"/>
                </a:solidFill>
                <a:effectLst/>
                <a:uLnTx/>
                <a:uFillTx/>
                <a:latin typeface="Arial"/>
                <a:ea typeface="游ゴシック Medium"/>
                <a:cs typeface="+mn-cs"/>
              </a:rPr>
              <a:t>※</a:t>
            </a:r>
            <a:r>
              <a:rPr kumimoji="0" lang="ja-JP" altLang="en-US" sz="700" b="0" i="0" u="none" strike="noStrike" kern="0" cap="none" spc="0" normalizeH="0" baseline="0" noProof="0">
                <a:ln>
                  <a:noFill/>
                </a:ln>
                <a:solidFill>
                  <a:srgbClr val="FFFFFF"/>
                </a:solidFill>
                <a:effectLst/>
                <a:uLnTx/>
                <a:uFillTx/>
                <a:latin typeface="Arial"/>
                <a:ea typeface="游ゴシック Medium"/>
                <a:cs typeface="+mn-cs"/>
              </a:rPr>
              <a:t>現行システムの参考画面です</a:t>
            </a:r>
            <a:endParaRPr kumimoji="0" lang="ja-JP" altLang="en-US" sz="1100" b="0" i="0" u="none" strike="noStrike" kern="0" cap="none" spc="0" normalizeH="0" baseline="0" noProof="0">
              <a:ln>
                <a:noFill/>
              </a:ln>
              <a:solidFill>
                <a:srgbClr val="FFFFFF"/>
              </a:solidFill>
              <a:effectLst/>
              <a:uLnTx/>
              <a:uFillTx/>
              <a:latin typeface="Arial"/>
              <a:ea typeface="游ゴシック Medium"/>
              <a:cs typeface="+mn-cs"/>
            </a:endParaRPr>
          </a:p>
        </p:txBody>
      </p:sp>
      <p:sp>
        <p:nvSpPr>
          <p:cNvPr id="25" name="吹き出し: 線 (枠付き、強調線付き) 24">
            <a:extLst>
              <a:ext uri="{FF2B5EF4-FFF2-40B4-BE49-F238E27FC236}">
                <a16:creationId xmlns:a16="http://schemas.microsoft.com/office/drawing/2014/main" id="{0CD750F5-E3CB-4EA2-5BB2-32AFA06CD271}"/>
              </a:ext>
            </a:extLst>
          </p:cNvPr>
          <p:cNvSpPr/>
          <p:nvPr/>
        </p:nvSpPr>
        <p:spPr>
          <a:xfrm>
            <a:off x="1438275" y="2195975"/>
            <a:ext cx="3815107" cy="1733701"/>
          </a:xfrm>
          <a:prstGeom prst="accentBorderCallout1">
            <a:avLst>
              <a:gd name="adj1" fmla="val 5862"/>
              <a:gd name="adj2" fmla="val 104338"/>
              <a:gd name="adj3" fmla="val 5781"/>
              <a:gd name="adj4" fmla="val 116099"/>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30" name="正方形/長方形 29">
            <a:extLst>
              <a:ext uri="{FF2B5EF4-FFF2-40B4-BE49-F238E27FC236}">
                <a16:creationId xmlns:a16="http://schemas.microsoft.com/office/drawing/2014/main" id="{3448C59E-558C-342D-EA1A-7AE67789B08F}"/>
              </a:ext>
            </a:extLst>
          </p:cNvPr>
          <p:cNvSpPr/>
          <p:nvPr/>
        </p:nvSpPr>
        <p:spPr>
          <a:xfrm>
            <a:off x="5878996" y="2152795"/>
            <a:ext cx="1826729" cy="1948629"/>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u="sng" kern="0">
                <a:solidFill>
                  <a:srgbClr val="000000"/>
                </a:solidFill>
                <a:latin typeface="+mn-ea"/>
              </a:rPr>
              <a:t>管理者用（事業部）</a:t>
            </a:r>
            <a:r>
              <a:rPr kumimoji="0" lang="ja-JP" altLang="en-US" sz="1200" b="0" i="0" u="sng" strike="noStrike" kern="0" cap="none" spc="0" normalizeH="0" baseline="0" noProof="0">
                <a:ln>
                  <a:noFill/>
                </a:ln>
                <a:solidFill>
                  <a:srgbClr val="000000"/>
                </a:solidFill>
                <a:effectLst/>
                <a:uLnTx/>
                <a:uFillTx/>
                <a:latin typeface="+mn-ea"/>
                <a:cs typeface="+mn-cs"/>
              </a:rPr>
              <a:t>を入力する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20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kern="0">
                <a:solidFill>
                  <a:srgbClr val="000000"/>
                </a:solidFill>
                <a:latin typeface="+mn-ea"/>
              </a:rPr>
              <a:t>事業部</a:t>
            </a:r>
            <a:r>
              <a:rPr kumimoji="0" lang="en-US" altLang="ja-JP" sz="1100" kern="0">
                <a:solidFill>
                  <a:srgbClr val="000000"/>
                </a:solidFill>
                <a:latin typeface="+mn-ea"/>
              </a:rPr>
              <a:t>/</a:t>
            </a:r>
            <a:r>
              <a:rPr kumimoji="0" lang="ja-JP" altLang="en-US" sz="1100" kern="0">
                <a:solidFill>
                  <a:srgbClr val="000000"/>
                </a:solidFill>
                <a:latin typeface="+mn-ea"/>
              </a:rPr>
              <a:t>事業所を登録</a:t>
            </a:r>
            <a:r>
              <a:rPr kumimoji="0" lang="ja-JP" altLang="en-US" sz="1100" b="0" i="0" u="none" strike="noStrike" kern="0" cap="none" spc="0" normalizeH="0" baseline="0" noProof="0">
                <a:ln>
                  <a:noFill/>
                </a:ln>
                <a:solidFill>
                  <a:srgbClr val="000000"/>
                </a:solidFill>
                <a:effectLst/>
                <a:uLnTx/>
                <a:uFillTx/>
                <a:latin typeface="+mn-ea"/>
                <a:cs typeface="+mn-cs"/>
              </a:rPr>
              <a:t>する機能</a:t>
            </a:r>
            <a:endParaRPr kumimoji="0" lang="en-US" altLang="ja-JP" sz="11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200" b="0" i="0" u="none" strike="noStrike" kern="0" cap="none" spc="0" normalizeH="0" baseline="0" noProof="0">
              <a:ln>
                <a:noFill/>
              </a:ln>
              <a:solidFill>
                <a:srgbClr val="000000"/>
              </a:solidFill>
              <a:effectLst/>
              <a:uLnTx/>
              <a:uFillTx/>
              <a:latin typeface="+mn-ea"/>
              <a:cs typeface="+mn-cs"/>
            </a:endParaRPr>
          </a:p>
        </p:txBody>
      </p:sp>
      <p:pic>
        <p:nvPicPr>
          <p:cNvPr id="2" name="図 1">
            <a:extLst>
              <a:ext uri="{FF2B5EF4-FFF2-40B4-BE49-F238E27FC236}">
                <a16:creationId xmlns:a16="http://schemas.microsoft.com/office/drawing/2014/main" id="{3D02A744-E9CF-DBFD-834A-29905FDAB33A}"/>
              </a:ext>
            </a:extLst>
          </p:cNvPr>
          <p:cNvPicPr>
            <a:picLocks noChangeAspect="1"/>
          </p:cNvPicPr>
          <p:nvPr/>
        </p:nvPicPr>
        <p:blipFill>
          <a:blip r:embed="rId5"/>
          <a:stretch>
            <a:fillRect/>
          </a:stretch>
        </p:blipFill>
        <p:spPr>
          <a:xfrm>
            <a:off x="1499193" y="2411309"/>
            <a:ext cx="3696312" cy="1306064"/>
          </a:xfrm>
          <a:prstGeom prst="rect">
            <a:avLst/>
          </a:prstGeom>
        </p:spPr>
      </p:pic>
    </p:spTree>
    <p:extLst>
      <p:ext uri="{BB962C8B-B14F-4D97-AF65-F5344CB8AC3E}">
        <p14:creationId xmlns:p14="http://schemas.microsoft.com/office/powerpoint/2010/main" val="1968482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84D1DA-97ED-2719-33EF-A13650BDF7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2A84D1DA-97ED-2719-33EF-A13650BDF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C0CD4ED1-0F74-83B6-F4AC-8C87103B97BF}"/>
              </a:ext>
            </a:extLst>
          </p:cNvPr>
          <p:cNvSpPr>
            <a:spLocks noGrp="1"/>
          </p:cNvSpPr>
          <p:nvPr>
            <p:ph type="title"/>
          </p:nvPr>
        </p:nvSpPr>
        <p:spPr/>
        <p:txBody>
          <a:bodyPr vert="horz"/>
          <a:lstStyle/>
          <a:p>
            <a:r>
              <a:rPr lang="ja-JP" altLang="en-US"/>
              <a:t>２．機能要件</a:t>
            </a:r>
            <a:endParaRPr kumimoji="1" lang="ja-JP" altLang="en-US"/>
          </a:p>
        </p:txBody>
      </p:sp>
      <p:sp>
        <p:nvSpPr>
          <p:cNvPr id="3" name="テキスト プレースホルダー 4">
            <a:extLst>
              <a:ext uri="{FF2B5EF4-FFF2-40B4-BE49-F238E27FC236}">
                <a16:creationId xmlns:a16="http://schemas.microsoft.com/office/drawing/2014/main" id="{251B3422-0C83-F0E0-CEB5-1398EC9D9C0C}"/>
              </a:ext>
            </a:extLst>
          </p:cNvPr>
          <p:cNvSpPr txBox="1">
            <a:spLocks/>
          </p:cNvSpPr>
          <p:nvPr/>
        </p:nvSpPr>
        <p:spPr>
          <a:xfrm>
            <a:off x="251524" y="1052963"/>
            <a:ext cx="8640950" cy="36512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kumimoji="1" lang="ja-JP" altLang="en-US" sz="1800"/>
              <a:t>画面イメージ</a:t>
            </a:r>
            <a:endParaRPr kumimoji="1" lang="en-US" altLang="zh-TW"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28" name="スライド番号プレースホルダー 1">
            <a:extLst>
              <a:ext uri="{FF2B5EF4-FFF2-40B4-BE49-F238E27FC236}">
                <a16:creationId xmlns:a16="http://schemas.microsoft.com/office/drawing/2014/main" id="{B45C7C43-84BC-EB68-B34A-AAE39F6D8E9C}"/>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37</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91" name="正方形/長方形 90">
            <a:extLst>
              <a:ext uri="{FF2B5EF4-FFF2-40B4-BE49-F238E27FC236}">
                <a16:creationId xmlns:a16="http://schemas.microsoft.com/office/drawing/2014/main" id="{6CE6E245-6D90-A273-F2A0-D60BE5CDAECB}"/>
              </a:ext>
            </a:extLst>
          </p:cNvPr>
          <p:cNvSpPr/>
          <p:nvPr/>
        </p:nvSpPr>
        <p:spPr>
          <a:xfrm>
            <a:off x="255605" y="1418087"/>
            <a:ext cx="8665427" cy="25841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FFFFFF"/>
                </a:solidFill>
                <a:effectLst/>
                <a:uLnTx/>
                <a:uFillTx/>
                <a:latin typeface="Arial"/>
                <a:ea typeface="游ゴシック Medium"/>
                <a:cs typeface="+mn-cs"/>
              </a:rPr>
              <a:t>管理者用（環境）イメージ　　　　</a:t>
            </a:r>
          </a:p>
        </p:txBody>
      </p:sp>
      <p:sp>
        <p:nvSpPr>
          <p:cNvPr id="92" name="正方形/長方形 91">
            <a:extLst>
              <a:ext uri="{FF2B5EF4-FFF2-40B4-BE49-F238E27FC236}">
                <a16:creationId xmlns:a16="http://schemas.microsoft.com/office/drawing/2014/main" id="{FB29D3D2-993B-758A-AE64-338460FA6218}"/>
              </a:ext>
            </a:extLst>
          </p:cNvPr>
          <p:cNvSpPr/>
          <p:nvPr/>
        </p:nvSpPr>
        <p:spPr>
          <a:xfrm>
            <a:off x="7184454" y="1499045"/>
            <a:ext cx="1711088" cy="17346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700" b="0" i="0" u="none" strike="noStrike" kern="0" cap="none" spc="0" normalizeH="0" baseline="0" noProof="0">
                <a:ln>
                  <a:noFill/>
                </a:ln>
                <a:solidFill>
                  <a:srgbClr val="FFFFFF"/>
                </a:solidFill>
                <a:effectLst/>
                <a:uLnTx/>
                <a:uFillTx/>
                <a:latin typeface="Arial"/>
                <a:ea typeface="游ゴシック Medium"/>
                <a:cs typeface="+mn-cs"/>
              </a:rPr>
              <a:t>※</a:t>
            </a:r>
            <a:r>
              <a:rPr kumimoji="0" lang="ja-JP" altLang="en-US" sz="700" b="0" i="0" u="none" strike="noStrike" kern="0" cap="none" spc="0" normalizeH="0" baseline="0" noProof="0">
                <a:ln>
                  <a:noFill/>
                </a:ln>
                <a:solidFill>
                  <a:srgbClr val="FFFFFF"/>
                </a:solidFill>
                <a:effectLst/>
                <a:uLnTx/>
                <a:uFillTx/>
                <a:latin typeface="Arial"/>
                <a:ea typeface="游ゴシック Medium"/>
                <a:cs typeface="+mn-cs"/>
              </a:rPr>
              <a:t>現行システムの参考画面です</a:t>
            </a:r>
            <a:endParaRPr kumimoji="0" lang="ja-JP" altLang="en-US" sz="1100" b="0" i="0" u="none" strike="noStrike" kern="0" cap="none" spc="0" normalizeH="0" baseline="0" noProof="0">
              <a:ln>
                <a:noFill/>
              </a:ln>
              <a:solidFill>
                <a:srgbClr val="FFFFFF"/>
              </a:solidFill>
              <a:effectLst/>
              <a:uLnTx/>
              <a:uFillTx/>
              <a:latin typeface="Arial"/>
              <a:ea typeface="游ゴシック Medium"/>
              <a:cs typeface="+mn-cs"/>
            </a:endParaRPr>
          </a:p>
        </p:txBody>
      </p:sp>
      <p:sp>
        <p:nvSpPr>
          <p:cNvPr id="25" name="吹き出し: 線 (枠付き、強調線付き) 24">
            <a:extLst>
              <a:ext uri="{FF2B5EF4-FFF2-40B4-BE49-F238E27FC236}">
                <a16:creationId xmlns:a16="http://schemas.microsoft.com/office/drawing/2014/main" id="{0CD750F5-E3CB-4EA2-5BB2-32AFA06CD271}"/>
              </a:ext>
            </a:extLst>
          </p:cNvPr>
          <p:cNvSpPr/>
          <p:nvPr/>
        </p:nvSpPr>
        <p:spPr>
          <a:xfrm>
            <a:off x="1438275" y="2195975"/>
            <a:ext cx="3815107" cy="2483936"/>
          </a:xfrm>
          <a:prstGeom prst="accentBorderCallout1">
            <a:avLst>
              <a:gd name="adj1" fmla="val 5862"/>
              <a:gd name="adj2" fmla="val 104338"/>
              <a:gd name="adj3" fmla="val 5781"/>
              <a:gd name="adj4" fmla="val 116099"/>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30" name="正方形/長方形 29">
            <a:extLst>
              <a:ext uri="{FF2B5EF4-FFF2-40B4-BE49-F238E27FC236}">
                <a16:creationId xmlns:a16="http://schemas.microsoft.com/office/drawing/2014/main" id="{3448C59E-558C-342D-EA1A-7AE67789B08F}"/>
              </a:ext>
            </a:extLst>
          </p:cNvPr>
          <p:cNvSpPr/>
          <p:nvPr/>
        </p:nvSpPr>
        <p:spPr>
          <a:xfrm>
            <a:off x="5878996" y="2152795"/>
            <a:ext cx="1826729" cy="1948629"/>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sng" strike="noStrike" kern="0" cap="none" spc="0" normalizeH="0" baseline="0" noProof="0">
                <a:ln>
                  <a:noFill/>
                </a:ln>
                <a:solidFill>
                  <a:srgbClr val="000000"/>
                </a:solidFill>
                <a:effectLst/>
                <a:uLnTx/>
                <a:uFillTx/>
                <a:latin typeface="+mn-ea"/>
                <a:cs typeface="+mn-cs"/>
              </a:rPr>
              <a:t>管理者用（環境）を入力する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20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kern="0">
                <a:solidFill>
                  <a:srgbClr val="000000"/>
                </a:solidFill>
                <a:latin typeface="+mn-ea"/>
              </a:rPr>
              <a:t>連携</a:t>
            </a:r>
            <a:r>
              <a:rPr kumimoji="0" lang="en-US" altLang="ja-JP" sz="1100" kern="0">
                <a:solidFill>
                  <a:srgbClr val="000000"/>
                </a:solidFill>
                <a:latin typeface="+mn-ea"/>
              </a:rPr>
              <a:t>DB</a:t>
            </a:r>
            <a:r>
              <a:rPr kumimoji="0" lang="ja-JP" altLang="en-US" sz="1100" kern="0">
                <a:solidFill>
                  <a:srgbClr val="000000"/>
                </a:solidFill>
                <a:latin typeface="+mn-ea"/>
              </a:rPr>
              <a:t>情報を登録</a:t>
            </a:r>
            <a:r>
              <a:rPr kumimoji="0" lang="ja-JP" altLang="en-US" sz="1100" b="0" i="0" u="none" strike="noStrike" kern="0" cap="none" spc="0" normalizeH="0" baseline="0" noProof="0">
                <a:ln>
                  <a:noFill/>
                </a:ln>
                <a:solidFill>
                  <a:srgbClr val="000000"/>
                </a:solidFill>
                <a:effectLst/>
                <a:uLnTx/>
                <a:uFillTx/>
                <a:latin typeface="+mn-ea"/>
                <a:cs typeface="+mn-cs"/>
              </a:rPr>
              <a:t>する機能</a:t>
            </a:r>
            <a:endParaRPr kumimoji="0" lang="en-US" altLang="ja-JP" sz="11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200" b="0" i="0" u="none" strike="noStrike" kern="0" cap="none" spc="0" normalizeH="0" baseline="0" noProof="0">
              <a:ln>
                <a:noFill/>
              </a:ln>
              <a:solidFill>
                <a:srgbClr val="000000"/>
              </a:solidFill>
              <a:effectLst/>
              <a:uLnTx/>
              <a:uFillTx/>
              <a:latin typeface="+mn-ea"/>
              <a:cs typeface="+mn-cs"/>
            </a:endParaRPr>
          </a:p>
        </p:txBody>
      </p:sp>
      <p:pic>
        <p:nvPicPr>
          <p:cNvPr id="2" name="図 1">
            <a:extLst>
              <a:ext uri="{FF2B5EF4-FFF2-40B4-BE49-F238E27FC236}">
                <a16:creationId xmlns:a16="http://schemas.microsoft.com/office/drawing/2014/main" id="{C68711ED-7089-DABE-E46E-29B39FB6C847}"/>
              </a:ext>
            </a:extLst>
          </p:cNvPr>
          <p:cNvPicPr>
            <a:picLocks noChangeAspect="1"/>
          </p:cNvPicPr>
          <p:nvPr/>
        </p:nvPicPr>
        <p:blipFill>
          <a:blip r:embed="rId5"/>
          <a:stretch>
            <a:fillRect/>
          </a:stretch>
        </p:blipFill>
        <p:spPr>
          <a:xfrm>
            <a:off x="1483829" y="2295927"/>
            <a:ext cx="3726180" cy="2304470"/>
          </a:xfrm>
          <a:prstGeom prst="rect">
            <a:avLst/>
          </a:prstGeom>
        </p:spPr>
      </p:pic>
    </p:spTree>
    <p:extLst>
      <p:ext uri="{BB962C8B-B14F-4D97-AF65-F5344CB8AC3E}">
        <p14:creationId xmlns:p14="http://schemas.microsoft.com/office/powerpoint/2010/main" val="37672650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84D1DA-97ED-2719-33EF-A13650BDF7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2A84D1DA-97ED-2719-33EF-A13650BDF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C0CD4ED1-0F74-83B6-F4AC-8C87103B97BF}"/>
              </a:ext>
            </a:extLst>
          </p:cNvPr>
          <p:cNvSpPr>
            <a:spLocks noGrp="1"/>
          </p:cNvSpPr>
          <p:nvPr>
            <p:ph type="title"/>
          </p:nvPr>
        </p:nvSpPr>
        <p:spPr/>
        <p:txBody>
          <a:bodyPr vert="horz"/>
          <a:lstStyle/>
          <a:p>
            <a:r>
              <a:rPr lang="ja-JP" altLang="en-US"/>
              <a:t>２．機能要件</a:t>
            </a:r>
            <a:endParaRPr kumimoji="1" lang="ja-JP" altLang="en-US"/>
          </a:p>
        </p:txBody>
      </p:sp>
      <p:sp>
        <p:nvSpPr>
          <p:cNvPr id="3" name="テキスト プレースホルダー 4">
            <a:extLst>
              <a:ext uri="{FF2B5EF4-FFF2-40B4-BE49-F238E27FC236}">
                <a16:creationId xmlns:a16="http://schemas.microsoft.com/office/drawing/2014/main" id="{251B3422-0C83-F0E0-CEB5-1398EC9D9C0C}"/>
              </a:ext>
            </a:extLst>
          </p:cNvPr>
          <p:cNvSpPr txBox="1">
            <a:spLocks/>
          </p:cNvSpPr>
          <p:nvPr/>
        </p:nvSpPr>
        <p:spPr>
          <a:xfrm>
            <a:off x="251524" y="1052963"/>
            <a:ext cx="8640950" cy="36512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kumimoji="1" lang="ja-JP" altLang="en-US" sz="1800"/>
              <a:t>画面イメージ</a:t>
            </a:r>
            <a:endParaRPr kumimoji="1" lang="en-US" altLang="zh-TW"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28" name="スライド番号プレースホルダー 1">
            <a:extLst>
              <a:ext uri="{FF2B5EF4-FFF2-40B4-BE49-F238E27FC236}">
                <a16:creationId xmlns:a16="http://schemas.microsoft.com/office/drawing/2014/main" id="{B45C7C43-84BC-EB68-B34A-AAE39F6D8E9C}"/>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38</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91" name="正方形/長方形 90">
            <a:extLst>
              <a:ext uri="{FF2B5EF4-FFF2-40B4-BE49-F238E27FC236}">
                <a16:creationId xmlns:a16="http://schemas.microsoft.com/office/drawing/2014/main" id="{6CE6E245-6D90-A273-F2A0-D60BE5CDAECB}"/>
              </a:ext>
            </a:extLst>
          </p:cNvPr>
          <p:cNvSpPr/>
          <p:nvPr/>
        </p:nvSpPr>
        <p:spPr>
          <a:xfrm>
            <a:off x="255605" y="1418087"/>
            <a:ext cx="8665427" cy="25841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srgbClr val="FFFFFF"/>
                </a:solidFill>
                <a:effectLst/>
                <a:uLnTx/>
                <a:uFillTx/>
                <a:latin typeface="Arial"/>
                <a:ea typeface="游ゴシック Medium"/>
                <a:cs typeface="+mn-cs"/>
              </a:rPr>
              <a:t>管理者用（文書種類）イメージ　　　　</a:t>
            </a:r>
          </a:p>
        </p:txBody>
      </p:sp>
      <p:sp>
        <p:nvSpPr>
          <p:cNvPr id="92" name="正方形/長方形 91">
            <a:extLst>
              <a:ext uri="{FF2B5EF4-FFF2-40B4-BE49-F238E27FC236}">
                <a16:creationId xmlns:a16="http://schemas.microsoft.com/office/drawing/2014/main" id="{FB29D3D2-993B-758A-AE64-338460FA6218}"/>
              </a:ext>
            </a:extLst>
          </p:cNvPr>
          <p:cNvSpPr/>
          <p:nvPr/>
        </p:nvSpPr>
        <p:spPr>
          <a:xfrm>
            <a:off x="7184454" y="1499045"/>
            <a:ext cx="1711088" cy="173468"/>
          </a:xfrm>
          <a:prstGeom prst="rect">
            <a:avLst/>
          </a:prstGeom>
          <a:solidFill>
            <a:srgbClr val="003F7E"/>
          </a:solidFill>
          <a:ln w="6350" cap="flat" cmpd="sng" algn="ctr">
            <a:noFill/>
            <a:prstDash val="solid"/>
            <a:miter lim="800000"/>
            <a:headEnd type="none" w="med" len="med"/>
            <a:tailEnd type="none" w="med" len="me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700" b="0" i="0" u="none" strike="noStrike" kern="0" cap="none" spc="0" normalizeH="0" baseline="0" noProof="0">
                <a:ln>
                  <a:noFill/>
                </a:ln>
                <a:solidFill>
                  <a:srgbClr val="FFFFFF"/>
                </a:solidFill>
                <a:effectLst/>
                <a:uLnTx/>
                <a:uFillTx/>
                <a:latin typeface="Arial"/>
                <a:ea typeface="游ゴシック Medium"/>
                <a:cs typeface="+mn-cs"/>
              </a:rPr>
              <a:t>※</a:t>
            </a:r>
            <a:r>
              <a:rPr kumimoji="0" lang="ja-JP" altLang="en-US" sz="700" b="0" i="0" u="none" strike="noStrike" kern="0" cap="none" spc="0" normalizeH="0" baseline="0" noProof="0">
                <a:ln>
                  <a:noFill/>
                </a:ln>
                <a:solidFill>
                  <a:srgbClr val="FFFFFF"/>
                </a:solidFill>
                <a:effectLst/>
                <a:uLnTx/>
                <a:uFillTx/>
                <a:latin typeface="Arial"/>
                <a:ea typeface="游ゴシック Medium"/>
                <a:cs typeface="+mn-cs"/>
              </a:rPr>
              <a:t>現行システムの参考画面です</a:t>
            </a:r>
            <a:endParaRPr kumimoji="0" lang="ja-JP" altLang="en-US" sz="1100" b="0" i="0" u="none" strike="noStrike" kern="0" cap="none" spc="0" normalizeH="0" baseline="0" noProof="0">
              <a:ln>
                <a:noFill/>
              </a:ln>
              <a:solidFill>
                <a:srgbClr val="FFFFFF"/>
              </a:solidFill>
              <a:effectLst/>
              <a:uLnTx/>
              <a:uFillTx/>
              <a:latin typeface="Arial"/>
              <a:ea typeface="游ゴシック Medium"/>
              <a:cs typeface="+mn-cs"/>
            </a:endParaRPr>
          </a:p>
        </p:txBody>
      </p:sp>
      <p:sp>
        <p:nvSpPr>
          <p:cNvPr id="25" name="吹き出し: 線 (枠付き、強調線付き) 24">
            <a:extLst>
              <a:ext uri="{FF2B5EF4-FFF2-40B4-BE49-F238E27FC236}">
                <a16:creationId xmlns:a16="http://schemas.microsoft.com/office/drawing/2014/main" id="{0CD750F5-E3CB-4EA2-5BB2-32AFA06CD271}"/>
              </a:ext>
            </a:extLst>
          </p:cNvPr>
          <p:cNvSpPr/>
          <p:nvPr/>
        </p:nvSpPr>
        <p:spPr>
          <a:xfrm>
            <a:off x="1438275" y="1789741"/>
            <a:ext cx="3815107" cy="3106770"/>
          </a:xfrm>
          <a:prstGeom prst="accentBorderCallout1">
            <a:avLst>
              <a:gd name="adj1" fmla="val 5862"/>
              <a:gd name="adj2" fmla="val 104338"/>
              <a:gd name="adj3" fmla="val 5781"/>
              <a:gd name="adj4" fmla="val 116099"/>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30" name="正方形/長方形 29">
            <a:extLst>
              <a:ext uri="{FF2B5EF4-FFF2-40B4-BE49-F238E27FC236}">
                <a16:creationId xmlns:a16="http://schemas.microsoft.com/office/drawing/2014/main" id="{3448C59E-558C-342D-EA1A-7AE67789B08F}"/>
              </a:ext>
            </a:extLst>
          </p:cNvPr>
          <p:cNvSpPr/>
          <p:nvPr/>
        </p:nvSpPr>
        <p:spPr>
          <a:xfrm>
            <a:off x="5878996" y="1774839"/>
            <a:ext cx="1826729" cy="1948629"/>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u="sng" kern="0">
                <a:solidFill>
                  <a:srgbClr val="000000"/>
                </a:solidFill>
                <a:latin typeface="+mn-ea"/>
              </a:rPr>
              <a:t>管理者用（文書種類）</a:t>
            </a:r>
            <a:r>
              <a:rPr kumimoji="0" lang="ja-JP" altLang="en-US" sz="1200" b="0" i="0" u="sng" strike="noStrike" kern="0" cap="none" spc="0" normalizeH="0" baseline="0" noProof="0">
                <a:ln>
                  <a:noFill/>
                </a:ln>
                <a:solidFill>
                  <a:srgbClr val="000000"/>
                </a:solidFill>
                <a:effectLst/>
                <a:uLnTx/>
                <a:uFillTx/>
                <a:latin typeface="+mn-ea"/>
                <a:cs typeface="+mn-cs"/>
              </a:rPr>
              <a:t>を入力する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20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kern="0">
                <a:solidFill>
                  <a:srgbClr val="000000"/>
                </a:solidFill>
                <a:latin typeface="+mn-ea"/>
              </a:rPr>
              <a:t>文書種類を登録</a:t>
            </a:r>
            <a:r>
              <a:rPr kumimoji="0" lang="ja-JP" altLang="en-US" sz="1100" b="0" i="0" u="none" strike="noStrike" kern="0" cap="none" spc="0" normalizeH="0" baseline="0" noProof="0">
                <a:ln>
                  <a:noFill/>
                </a:ln>
                <a:solidFill>
                  <a:srgbClr val="000000"/>
                </a:solidFill>
                <a:effectLst/>
                <a:uLnTx/>
                <a:uFillTx/>
                <a:latin typeface="+mn-ea"/>
                <a:cs typeface="+mn-cs"/>
              </a:rPr>
              <a:t>する機能</a:t>
            </a:r>
            <a:endParaRPr kumimoji="0" lang="en-US" altLang="ja-JP" sz="11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i="0" u="none" strike="noStrike" kern="0" cap="none" spc="0" normalizeH="0" baseline="0" noProof="0">
                <a:ln>
                  <a:noFill/>
                </a:ln>
                <a:solidFill>
                  <a:srgbClr val="000000"/>
                </a:solidFill>
                <a:effectLst/>
                <a:uLnTx/>
                <a:uFillTx/>
                <a:latin typeface="+mn-ea"/>
                <a:cs typeface="+mn-cs"/>
              </a:rPr>
              <a:t>開示範囲を設定する機能</a:t>
            </a:r>
            <a:endParaRPr kumimoji="0" lang="en-US" altLang="ja-JP" sz="11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200" b="0" i="0" u="none" strike="noStrike" kern="0" cap="none" spc="0" normalizeH="0" baseline="0" noProof="0">
              <a:ln>
                <a:noFill/>
              </a:ln>
              <a:solidFill>
                <a:srgbClr val="000000"/>
              </a:solidFill>
              <a:effectLst/>
              <a:uLnTx/>
              <a:uFillTx/>
              <a:latin typeface="+mn-ea"/>
              <a:cs typeface="+mn-cs"/>
            </a:endParaRPr>
          </a:p>
        </p:txBody>
      </p:sp>
      <p:pic>
        <p:nvPicPr>
          <p:cNvPr id="2" name="図 1">
            <a:extLst>
              <a:ext uri="{FF2B5EF4-FFF2-40B4-BE49-F238E27FC236}">
                <a16:creationId xmlns:a16="http://schemas.microsoft.com/office/drawing/2014/main" id="{82AE1480-35D0-3B20-43DE-696F3DF2EBE0}"/>
              </a:ext>
            </a:extLst>
          </p:cNvPr>
          <p:cNvPicPr>
            <a:picLocks noChangeAspect="1"/>
          </p:cNvPicPr>
          <p:nvPr/>
        </p:nvPicPr>
        <p:blipFill>
          <a:blip r:embed="rId5"/>
          <a:stretch>
            <a:fillRect/>
          </a:stretch>
        </p:blipFill>
        <p:spPr>
          <a:xfrm>
            <a:off x="2057920" y="1891059"/>
            <a:ext cx="2582371" cy="2947641"/>
          </a:xfrm>
          <a:prstGeom prst="rect">
            <a:avLst/>
          </a:prstGeom>
        </p:spPr>
      </p:pic>
      <p:pic>
        <p:nvPicPr>
          <p:cNvPr id="5" name="図 4">
            <a:extLst>
              <a:ext uri="{FF2B5EF4-FFF2-40B4-BE49-F238E27FC236}">
                <a16:creationId xmlns:a16="http://schemas.microsoft.com/office/drawing/2014/main" id="{857056E4-D473-087C-7B81-CD120B7CAC84}"/>
              </a:ext>
            </a:extLst>
          </p:cNvPr>
          <p:cNvPicPr>
            <a:picLocks noChangeAspect="1"/>
          </p:cNvPicPr>
          <p:nvPr/>
        </p:nvPicPr>
        <p:blipFill>
          <a:blip r:embed="rId6"/>
          <a:stretch>
            <a:fillRect/>
          </a:stretch>
        </p:blipFill>
        <p:spPr>
          <a:xfrm>
            <a:off x="2057920" y="4953661"/>
            <a:ext cx="2582371" cy="1552650"/>
          </a:xfrm>
          <a:prstGeom prst="rect">
            <a:avLst/>
          </a:prstGeom>
        </p:spPr>
      </p:pic>
      <p:sp>
        <p:nvSpPr>
          <p:cNvPr id="6" name="吹き出し: 線 (枠付き、強調線付き) 5">
            <a:extLst>
              <a:ext uri="{FF2B5EF4-FFF2-40B4-BE49-F238E27FC236}">
                <a16:creationId xmlns:a16="http://schemas.microsoft.com/office/drawing/2014/main" id="{1490148D-D36A-5363-A6F3-BC499145C9A4}"/>
              </a:ext>
            </a:extLst>
          </p:cNvPr>
          <p:cNvSpPr/>
          <p:nvPr/>
        </p:nvSpPr>
        <p:spPr>
          <a:xfrm>
            <a:off x="1438275" y="4886986"/>
            <a:ext cx="3815107" cy="1707048"/>
          </a:xfrm>
          <a:prstGeom prst="accentBorderCallout1">
            <a:avLst>
              <a:gd name="adj1" fmla="val 5862"/>
              <a:gd name="adj2" fmla="val 104338"/>
              <a:gd name="adj3" fmla="val 5781"/>
              <a:gd name="adj4" fmla="val 116099"/>
            </a:avLst>
          </a:prstGeom>
          <a:noFill/>
          <a:ln w="38100" cap="flat" cmpd="sng" algn="ctr">
            <a:solidFill>
              <a:srgbClr val="000000">
                <a:lumMod val="50000"/>
                <a:lumOff val="50000"/>
              </a:srgbClr>
            </a:solidFill>
            <a:prstDash val="solid"/>
            <a:miter lim="800000"/>
            <a:headEnd type="none" w="med" len="med"/>
            <a:tailEnd type="none" w="med" len="med"/>
          </a:ln>
          <a:effectLst/>
        </p:spPr>
        <p:txBody>
          <a:bodyPr lIns="72000" tIns="72000" rIns="72000" bIns="72000" rtlCol="0" anchor="t" anchorCtr="0"/>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ja-JP" altLang="en-US" sz="1200" b="0" i="0" u="none" strike="noStrike" kern="0" cap="none" spc="0" normalizeH="0" baseline="0" noProof="0">
              <a:ln>
                <a:noFill/>
              </a:ln>
              <a:solidFill>
                <a:srgbClr val="000000"/>
              </a:solidFill>
              <a:effectLst/>
              <a:uLnTx/>
              <a:uFillTx/>
              <a:latin typeface="Arial"/>
              <a:ea typeface="游ゴシック Medium"/>
              <a:cs typeface="+mn-cs"/>
            </a:endParaRPr>
          </a:p>
        </p:txBody>
      </p:sp>
      <p:sp>
        <p:nvSpPr>
          <p:cNvPr id="8" name="正方形/長方形 7">
            <a:extLst>
              <a:ext uri="{FF2B5EF4-FFF2-40B4-BE49-F238E27FC236}">
                <a16:creationId xmlns:a16="http://schemas.microsoft.com/office/drawing/2014/main" id="{2E712169-3A23-51EC-7DEB-37FB03D6B67B}"/>
              </a:ext>
            </a:extLst>
          </p:cNvPr>
          <p:cNvSpPr/>
          <p:nvPr/>
        </p:nvSpPr>
        <p:spPr>
          <a:xfrm>
            <a:off x="5878996" y="4886986"/>
            <a:ext cx="1826729" cy="1948629"/>
          </a:xfrm>
          <a:prstGeom prst="rect">
            <a:avLst/>
          </a:prstGeom>
          <a:noFill/>
          <a:ln w="6350" cap="flat" cmpd="sng" algn="ctr">
            <a:noFill/>
            <a:prstDash val="solid"/>
            <a:miter lim="800000"/>
            <a:headEnd type="none" w="med" len="med"/>
            <a:tailEnd type="none" w="med" len="med"/>
          </a:ln>
          <a:effectLst/>
        </p:spPr>
        <p:txBody>
          <a:bodyPr lIns="72000" tIns="72000" rIns="72000" bIns="72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u="sng" kern="0">
                <a:solidFill>
                  <a:srgbClr val="000000"/>
                </a:solidFill>
                <a:latin typeface="+mn-ea"/>
              </a:rPr>
              <a:t>文書の補助項目</a:t>
            </a:r>
            <a:r>
              <a:rPr kumimoji="0" lang="ja-JP" altLang="en-US" sz="1200" b="0" i="0" u="sng" strike="noStrike" kern="0" cap="none" spc="0" normalizeH="0" baseline="0" noProof="0">
                <a:ln>
                  <a:noFill/>
                </a:ln>
                <a:solidFill>
                  <a:srgbClr val="000000"/>
                </a:solidFill>
                <a:effectLst/>
                <a:uLnTx/>
                <a:uFillTx/>
                <a:latin typeface="+mn-ea"/>
                <a:cs typeface="+mn-cs"/>
              </a:rPr>
              <a:t>を追加する項目</a:t>
            </a:r>
            <a:endParaRPr kumimoji="0" lang="en-US" altLang="ja-JP" sz="1200" b="0" i="0" u="sng" strike="noStrike" kern="0" cap="none" spc="0" normalizeH="0" baseline="0" noProof="0">
              <a:ln>
                <a:noFill/>
              </a:ln>
              <a:solidFill>
                <a:srgbClr val="000000"/>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200" b="0" i="0" u="sng"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kern="0">
                <a:solidFill>
                  <a:srgbClr val="000000"/>
                </a:solidFill>
                <a:latin typeface="+mn-ea"/>
              </a:rPr>
              <a:t>補助項目を登録</a:t>
            </a:r>
            <a:r>
              <a:rPr kumimoji="0" lang="ja-JP" altLang="en-US" sz="1100" b="0" i="0" u="none" strike="noStrike" kern="0" cap="none" spc="0" normalizeH="0" baseline="0" noProof="0">
                <a:ln>
                  <a:noFill/>
                </a:ln>
                <a:solidFill>
                  <a:srgbClr val="000000"/>
                </a:solidFill>
                <a:effectLst/>
                <a:uLnTx/>
                <a:uFillTx/>
                <a:latin typeface="+mn-ea"/>
                <a:cs typeface="+mn-cs"/>
              </a:rPr>
              <a:t>する機能</a:t>
            </a:r>
            <a:endParaRPr kumimoji="0" lang="en-US" altLang="ja-JP" sz="11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kern="0">
                <a:solidFill>
                  <a:srgbClr val="000000"/>
                </a:solidFill>
                <a:latin typeface="+mn-ea"/>
              </a:rPr>
              <a:t>項目反映日を記録する機能</a:t>
            </a: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200" b="0" i="0" u="none" strike="noStrike" kern="0" cap="none" spc="0" normalizeH="0" baseline="0" noProof="0">
              <a:ln>
                <a:noFill/>
              </a:ln>
              <a:solidFill>
                <a:srgbClr val="000000"/>
              </a:solidFill>
              <a:effectLst/>
              <a:uLnTx/>
              <a:uFillTx/>
              <a:latin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ja-JP" altLang="en-US" sz="1200" b="0" i="0" u="none" strike="noStrike" kern="0" cap="none" spc="0" normalizeH="0" baseline="0" noProof="0">
              <a:ln>
                <a:noFill/>
              </a:ln>
              <a:solidFill>
                <a:srgbClr val="000000"/>
              </a:solidFill>
              <a:effectLst/>
              <a:uLnTx/>
              <a:uFillTx/>
              <a:latin typeface="+mn-ea"/>
              <a:cs typeface="+mn-cs"/>
            </a:endParaRPr>
          </a:p>
        </p:txBody>
      </p:sp>
    </p:spTree>
    <p:extLst>
      <p:ext uri="{BB962C8B-B14F-4D97-AF65-F5344CB8AC3E}">
        <p14:creationId xmlns:p14="http://schemas.microsoft.com/office/powerpoint/2010/main" val="169858382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84D1DA-97ED-2719-33EF-A13650BDF7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2A84D1DA-97ED-2719-33EF-A13650BDF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3B84560E-C9F3-C336-7F55-25F16E12EAD5}"/>
              </a:ext>
            </a:extLst>
          </p:cNvPr>
          <p:cNvSpPr>
            <a:spLocks noGrp="1"/>
          </p:cNvSpPr>
          <p:nvPr>
            <p:ph type="sldNum" sz="quarter" idx="12"/>
          </p:nvPr>
        </p:nvSpPr>
        <p:spPr>
          <a:xfrm>
            <a:off x="2770554" y="6356352"/>
            <a:ext cx="2133600" cy="365125"/>
          </a:xfrm>
        </p:spPr>
        <p:txBody>
          <a:bodyPr/>
          <a:lstStyle/>
          <a:p>
            <a:fld id="{98139188-682B-46B8-8E3A-C32D863D2EEC}" type="slidenum">
              <a:rPr lang="ja-JP" altLang="en-US" sz="1050" smtClean="0"/>
              <a:pPr/>
              <a:t>39</a:t>
            </a:fld>
            <a:endParaRPr lang="ja-JP" altLang="en-US" sz="1050"/>
          </a:p>
        </p:txBody>
      </p:sp>
      <p:sp>
        <p:nvSpPr>
          <p:cNvPr id="4" name="タイトル 3">
            <a:extLst>
              <a:ext uri="{FF2B5EF4-FFF2-40B4-BE49-F238E27FC236}">
                <a16:creationId xmlns:a16="http://schemas.microsoft.com/office/drawing/2014/main" id="{C0CD4ED1-0F74-83B6-F4AC-8C87103B97BF}"/>
              </a:ext>
            </a:extLst>
          </p:cNvPr>
          <p:cNvSpPr>
            <a:spLocks noGrp="1"/>
          </p:cNvSpPr>
          <p:nvPr>
            <p:ph type="title"/>
          </p:nvPr>
        </p:nvSpPr>
        <p:spPr/>
        <p:txBody>
          <a:bodyPr vert="horz"/>
          <a:lstStyle/>
          <a:p>
            <a:r>
              <a:rPr lang="ja-JP" altLang="en-US"/>
              <a:t>２．機能要件</a:t>
            </a:r>
            <a:endParaRPr kumimoji="1" lang="ja-JP" altLang="en-US"/>
          </a:p>
        </p:txBody>
      </p:sp>
      <p:sp>
        <p:nvSpPr>
          <p:cNvPr id="3" name="テキスト プレースホルダー 4">
            <a:extLst>
              <a:ext uri="{FF2B5EF4-FFF2-40B4-BE49-F238E27FC236}">
                <a16:creationId xmlns:a16="http://schemas.microsoft.com/office/drawing/2014/main" id="{251B3422-0C83-F0E0-CEB5-1398EC9D9C0C}"/>
              </a:ext>
            </a:extLst>
          </p:cNvPr>
          <p:cNvSpPr txBox="1">
            <a:spLocks/>
          </p:cNvSpPr>
          <p:nvPr/>
        </p:nvSpPr>
        <p:spPr>
          <a:xfrm>
            <a:off x="251524" y="1052963"/>
            <a:ext cx="8640950" cy="523221"/>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4)</a:t>
            </a:r>
            <a:r>
              <a:rPr lang="ja-JP" altLang="en-US" sz="1800"/>
              <a:t>項目</a:t>
            </a:r>
            <a:endParaRPr kumimoji="1" lang="en-US" altLang="zh-TW"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6" name="コンテンツ プレースホルダー 6">
            <a:extLst>
              <a:ext uri="{FF2B5EF4-FFF2-40B4-BE49-F238E27FC236}">
                <a16:creationId xmlns:a16="http://schemas.microsoft.com/office/drawing/2014/main" id="{E3CEBE24-4411-7EC1-2AED-B58B586D888A}"/>
              </a:ext>
            </a:extLst>
          </p:cNvPr>
          <p:cNvSpPr txBox="1">
            <a:spLocks/>
          </p:cNvSpPr>
          <p:nvPr/>
        </p:nvSpPr>
        <p:spPr>
          <a:xfrm>
            <a:off x="251519" y="1576184"/>
            <a:ext cx="8603312" cy="1243587"/>
          </a:xfrm>
          <a:prstGeom prst="rect">
            <a:avLst/>
          </a:prstGeom>
        </p:spPr>
        <p:txBody>
          <a:bodyPr vert="horz" lIns="0" tIns="0" rIns="0" bIns="0" rtlCol="0">
            <a:normAutofit/>
          </a:bodyPr>
          <a:lstStyle>
            <a:lvl1pPr marL="285750" indent="-285750" algn="l" defTabSz="914400" rtl="0" eaLnBrk="1" latinLnBrk="0" hangingPunct="1">
              <a:lnSpc>
                <a:spcPct val="150000"/>
              </a:lnSpc>
              <a:spcBef>
                <a:spcPts val="1000"/>
              </a:spcBef>
              <a:buFont typeface="Arial" panose="020B0604020202020204" pitchFamily="34" charset="0"/>
              <a:buChar char="•"/>
              <a:defRPr kumimoji="1" sz="1600" kern="1200" baseline="0">
                <a:solidFill>
                  <a:schemeClr val="tx1"/>
                </a:solidFill>
                <a:latin typeface="+mn-lt"/>
                <a:ea typeface="+mn-ea"/>
                <a:cs typeface="+mn-cs"/>
              </a:defRPr>
            </a:lvl1pPr>
            <a:lvl2pPr marL="64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100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3pPr>
            <a:lvl4pPr marL="136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4pPr>
            <a:lvl5pPr marL="172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1" lang="ja-JP" altLang="en-US" sz="1400" b="0" i="0" u="none" strike="noStrike" kern="1200" cap="none" spc="0" normalizeH="0" baseline="0" noProof="0">
                <a:ln>
                  <a:noFill/>
                </a:ln>
                <a:solidFill>
                  <a:srgbClr val="000000"/>
                </a:solidFill>
                <a:effectLst/>
                <a:uLnTx/>
                <a:uFillTx/>
                <a:latin typeface="Arial"/>
                <a:ea typeface="游ゴシック Medium"/>
                <a:cs typeface="+mn-cs"/>
              </a:rPr>
              <a:t>詳細な項目内容は、「</a:t>
            </a:r>
            <a:r>
              <a:rPr lang="ja-JP" altLang="en-US" sz="1600">
                <a:hlinkClick r:id="rId5"/>
              </a:rPr>
              <a:t> </a:t>
            </a:r>
            <a:r>
              <a:rPr lang="en-US" altLang="ja-JP" sz="1400">
                <a:hlinkClick r:id="rId5"/>
              </a:rPr>
              <a:t>【</a:t>
            </a:r>
            <a:r>
              <a:rPr lang="ja-JP" altLang="en-US" sz="1400">
                <a:hlinkClick r:id="rId5"/>
              </a:rPr>
              <a:t>新アプリ</a:t>
            </a:r>
            <a:r>
              <a:rPr lang="en-US" altLang="ja-JP" sz="1400">
                <a:hlinkClick r:id="rId5"/>
              </a:rPr>
              <a:t>】</a:t>
            </a:r>
            <a:r>
              <a:rPr lang="ja-JP" altLang="en-US" sz="1400">
                <a:hlinkClick r:id="rId5"/>
              </a:rPr>
              <a:t>入力項目一覧</a:t>
            </a:r>
            <a:r>
              <a:rPr lang="en-US" altLang="ja-JP" sz="1400">
                <a:hlinkClick r:id="rId5"/>
              </a:rPr>
              <a:t>.xlsx</a:t>
            </a:r>
            <a:r>
              <a:rPr lang="en-US" altLang="ja-JP" sz="1600">
                <a:hlinkClick r:id="rId5"/>
              </a:rPr>
              <a:t> </a:t>
            </a:r>
            <a:r>
              <a:rPr kumimoji="1" lang="ja-JP" altLang="en-US" sz="1400" b="0" i="0" u="none" strike="noStrike" kern="1200" cap="none" spc="0" normalizeH="0" baseline="0" noProof="0">
                <a:ln>
                  <a:noFill/>
                </a:ln>
                <a:solidFill>
                  <a:srgbClr val="000000"/>
                </a:solidFill>
                <a:effectLst/>
                <a:uLnTx/>
                <a:uFillTx/>
                <a:latin typeface="Arial"/>
                <a:ea typeface="游ゴシック Medium"/>
                <a:cs typeface="+mn-cs"/>
              </a:rPr>
              <a:t>」を参照</a:t>
            </a:r>
            <a:endParaRPr kumimoji="1" lang="en-US" altLang="ja-JP" sz="1400" b="0" i="0" u="none" strike="noStrike" kern="1200" cap="none" spc="0" normalizeH="0" baseline="0" noProof="0">
              <a:ln>
                <a:noFill/>
              </a:ln>
              <a:solidFill>
                <a:srgbClr val="000000"/>
              </a:solidFill>
              <a:effectLst/>
              <a:uLnTx/>
              <a:uFillTx/>
              <a:latin typeface="Arial"/>
              <a:ea typeface="游ゴシック Medium"/>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ja-JP" altLang="en-US" sz="1400">
                <a:solidFill>
                  <a:srgbClr val="000000"/>
                </a:solidFill>
                <a:latin typeface="Arial"/>
                <a:ea typeface="游ゴシック Medium"/>
              </a:rPr>
              <a:t>ただし、項目名称や項目種類はシステム情報によって可変となる場合や、ユーザー調整の上</a:t>
            </a:r>
            <a:br>
              <a:rPr lang="en-US" altLang="ja-JP" sz="1400">
                <a:solidFill>
                  <a:srgbClr val="000000"/>
                </a:solidFill>
                <a:latin typeface="Arial"/>
                <a:ea typeface="游ゴシック Medium"/>
              </a:rPr>
            </a:br>
            <a:r>
              <a:rPr lang="ja-JP" altLang="en-US" sz="1400">
                <a:solidFill>
                  <a:srgbClr val="000000"/>
                </a:solidFill>
                <a:latin typeface="Arial"/>
                <a:ea typeface="游ゴシック Medium"/>
              </a:rPr>
              <a:t>変更になる可能性がある</a:t>
            </a:r>
            <a:endParaRPr lang="en-US" altLang="ja-JP" sz="1400">
              <a:solidFill>
                <a:srgbClr val="000000"/>
              </a:solidFill>
              <a:latin typeface="Arial"/>
              <a:ea typeface="游ゴシック Medium"/>
            </a:endParaRPr>
          </a:p>
        </p:txBody>
      </p:sp>
    </p:spTree>
    <p:extLst>
      <p:ext uri="{BB962C8B-B14F-4D97-AF65-F5344CB8AC3E}">
        <p14:creationId xmlns:p14="http://schemas.microsoft.com/office/powerpoint/2010/main" val="16522140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CF1F410-5184-899E-B5E0-8F3C15E8CB80}"/>
              </a:ext>
            </a:extLst>
          </p:cNvPr>
          <p:cNvGraphicFramePr>
            <a:graphicFrameLocks noChangeAspect="1"/>
          </p:cNvGraphicFramePr>
          <p:nvPr>
            <p:custDataLst>
              <p:tags r:id="rId1"/>
            </p:custDataLst>
            <p:extLst>
              <p:ext uri="{D42A27DB-BD31-4B8C-83A1-F6EECF244321}">
                <p14:modId xmlns:p14="http://schemas.microsoft.com/office/powerpoint/2010/main" val="1664973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6" name="think-cell data - do not delete" hidden="1">
                        <a:extLst>
                          <a:ext uri="{FF2B5EF4-FFF2-40B4-BE49-F238E27FC236}">
                            <a16:creationId xmlns:a16="http://schemas.microsoft.com/office/drawing/2014/main" id="{1CF1F410-5184-899E-B5E0-8F3C15E8CB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45B6C1CE-AE6D-F867-1DAC-14F72423643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4" name="タイトル 3">
            <a:extLst>
              <a:ext uri="{FF2B5EF4-FFF2-40B4-BE49-F238E27FC236}">
                <a16:creationId xmlns:a16="http://schemas.microsoft.com/office/drawing/2014/main" id="{599FFCD3-4840-7D8A-EC3F-3642D5887971}"/>
              </a:ext>
            </a:extLst>
          </p:cNvPr>
          <p:cNvSpPr>
            <a:spLocks noGrp="1"/>
          </p:cNvSpPr>
          <p:nvPr>
            <p:ph type="title"/>
          </p:nvPr>
        </p:nvSpPr>
        <p:spPr>
          <a:xfrm>
            <a:off x="251519" y="263966"/>
            <a:ext cx="6932935" cy="523220"/>
          </a:xfrm>
        </p:spPr>
        <p:txBody>
          <a:bodyPr vert="horz"/>
          <a:lstStyle/>
          <a:p>
            <a:r>
              <a:rPr kumimoji="1" lang="ja-JP" altLang="en-US"/>
              <a:t>１．業務要件</a:t>
            </a:r>
          </a:p>
        </p:txBody>
      </p:sp>
      <p:sp>
        <p:nvSpPr>
          <p:cNvPr id="10" name="テキスト プレースホルダー 4">
            <a:extLst>
              <a:ext uri="{FF2B5EF4-FFF2-40B4-BE49-F238E27FC236}">
                <a16:creationId xmlns:a16="http://schemas.microsoft.com/office/drawing/2014/main" id="{63BB9C2C-DCF6-C3B2-75F2-A145BE2371C9}"/>
              </a:ext>
            </a:extLst>
          </p:cNvPr>
          <p:cNvSpPr txBox="1">
            <a:spLocks/>
          </p:cNvSpPr>
          <p:nvPr/>
        </p:nvSpPr>
        <p:spPr>
          <a:xfrm>
            <a:off x="251524" y="1052963"/>
            <a:ext cx="8640950" cy="365125"/>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2)</a:t>
            </a:r>
            <a:r>
              <a:rPr kumimoji="1" lang="ja-JP" altLang="en-US" sz="1800"/>
              <a:t>業務上の役割</a:t>
            </a:r>
            <a:endParaRPr kumimoji="1" lang="en-US" altLang="zh-TW" sz="1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3" name="テキスト ボックス 2">
            <a:extLst>
              <a:ext uri="{FF2B5EF4-FFF2-40B4-BE49-F238E27FC236}">
                <a16:creationId xmlns:a16="http://schemas.microsoft.com/office/drawing/2014/main" id="{EE62D299-D6BF-6BB7-DB93-0316AAEA9A1D}"/>
              </a:ext>
            </a:extLst>
          </p:cNvPr>
          <p:cNvSpPr txBox="1"/>
          <p:nvPr/>
        </p:nvSpPr>
        <p:spPr>
          <a:xfrm>
            <a:off x="6616608" y="1265175"/>
            <a:ext cx="2275865" cy="215444"/>
          </a:xfrm>
          <a:prstGeom prst="rect">
            <a:avLst/>
          </a:prstGeom>
          <a:noFill/>
        </p:spPr>
        <p:txBody>
          <a:bodyPr wrap="square">
            <a:spAutoFit/>
          </a:bodyPr>
          <a:lstStyle/>
          <a:p>
            <a:r>
              <a:rPr lang="en-US" altLang="ja-JP" sz="800"/>
              <a:t>※</a:t>
            </a:r>
            <a:r>
              <a:rPr lang="ja-JP" altLang="en-US" sz="800"/>
              <a:t>①～⑤は</a:t>
            </a:r>
            <a:r>
              <a:rPr lang="en-US" altLang="ja-JP" sz="800"/>
              <a:t>DB</a:t>
            </a:r>
            <a:r>
              <a:rPr lang="ja-JP" altLang="en-US" sz="800"/>
              <a:t>情報マスタから名称の変更可能</a:t>
            </a:r>
            <a:endParaRPr kumimoji="1" lang="en-US" altLang="ja-JP" sz="800">
              <a:solidFill>
                <a:schemeClr val="tx1"/>
              </a:solidFill>
            </a:endParaRPr>
          </a:p>
        </p:txBody>
      </p:sp>
      <p:graphicFrame>
        <p:nvGraphicFramePr>
          <p:cNvPr id="5" name="表 7">
            <a:extLst>
              <a:ext uri="{FF2B5EF4-FFF2-40B4-BE49-F238E27FC236}">
                <a16:creationId xmlns:a16="http://schemas.microsoft.com/office/drawing/2014/main" id="{B6B803F5-CF8F-2476-7A86-BC5B42A2D4AB}"/>
              </a:ext>
            </a:extLst>
          </p:cNvPr>
          <p:cNvGraphicFramePr>
            <a:graphicFrameLocks noGrp="1"/>
          </p:cNvGraphicFramePr>
          <p:nvPr>
            <p:extLst>
              <p:ext uri="{D42A27DB-BD31-4B8C-83A1-F6EECF244321}">
                <p14:modId xmlns:p14="http://schemas.microsoft.com/office/powerpoint/2010/main" val="1683924205"/>
              </p:ext>
            </p:extLst>
          </p:nvPr>
        </p:nvGraphicFramePr>
        <p:xfrm>
          <a:off x="107501" y="1418089"/>
          <a:ext cx="8640949" cy="4203405"/>
        </p:xfrm>
        <a:graphic>
          <a:graphicData uri="http://schemas.openxmlformats.org/drawingml/2006/table">
            <a:tbl>
              <a:tblPr firstRow="1" bandRow="1">
                <a:tableStyleId>{5C22544A-7EE6-4342-B048-85BDC9FD1C3A}</a:tableStyleId>
              </a:tblPr>
              <a:tblGrid>
                <a:gridCol w="406849">
                  <a:extLst>
                    <a:ext uri="{9D8B030D-6E8A-4147-A177-3AD203B41FA5}">
                      <a16:colId xmlns:a16="http://schemas.microsoft.com/office/drawing/2014/main" val="2738723109"/>
                    </a:ext>
                  </a:extLst>
                </a:gridCol>
                <a:gridCol w="1933575">
                  <a:extLst>
                    <a:ext uri="{9D8B030D-6E8A-4147-A177-3AD203B41FA5}">
                      <a16:colId xmlns:a16="http://schemas.microsoft.com/office/drawing/2014/main" val="55771545"/>
                    </a:ext>
                  </a:extLst>
                </a:gridCol>
                <a:gridCol w="6300525">
                  <a:extLst>
                    <a:ext uri="{9D8B030D-6E8A-4147-A177-3AD203B41FA5}">
                      <a16:colId xmlns:a16="http://schemas.microsoft.com/office/drawing/2014/main" val="1027567464"/>
                    </a:ext>
                  </a:extLst>
                </a:gridCol>
              </a:tblGrid>
              <a:tr h="256694">
                <a:tc>
                  <a:txBody>
                    <a:bodyPr/>
                    <a:lstStyle/>
                    <a:p>
                      <a:pPr algn="l"/>
                      <a:r>
                        <a:rPr kumimoji="1" lang="en-US" altLang="ja-JP" sz="1200"/>
                        <a:t>#</a:t>
                      </a:r>
                      <a:endParaRPr kumimoji="1" lang="ja-JP" altLang="en-US" sz="1200"/>
                    </a:p>
                  </a:txBody>
                  <a:tcPr>
                    <a:solidFill>
                      <a:schemeClr val="accent1"/>
                    </a:solidFill>
                  </a:tcPr>
                </a:tc>
                <a:tc>
                  <a:txBody>
                    <a:bodyPr/>
                    <a:lstStyle/>
                    <a:p>
                      <a:pPr algn="l"/>
                      <a:r>
                        <a:rPr kumimoji="1" lang="ja-JP" altLang="en-US" sz="1200"/>
                        <a:t>役割</a:t>
                      </a:r>
                    </a:p>
                  </a:txBody>
                  <a:tcPr>
                    <a:solidFill>
                      <a:schemeClr val="accent1"/>
                    </a:solidFill>
                  </a:tcPr>
                </a:tc>
                <a:tc>
                  <a:txBody>
                    <a:bodyPr/>
                    <a:lstStyle/>
                    <a:p>
                      <a:pPr algn="l"/>
                      <a:r>
                        <a:rPr kumimoji="1" lang="ja-JP" altLang="en-US" sz="1200"/>
                        <a:t>概要</a:t>
                      </a:r>
                    </a:p>
                  </a:txBody>
                  <a:tcPr/>
                </a:tc>
                <a:extLst>
                  <a:ext uri="{0D108BD9-81ED-4DB2-BD59-A6C34878D82A}">
                    <a16:rowId xmlns:a16="http://schemas.microsoft.com/office/drawing/2014/main" val="2838924240"/>
                  </a:ext>
                </a:extLst>
              </a:tr>
              <a:tr h="436565">
                <a:tc>
                  <a:txBody>
                    <a:bodyPr/>
                    <a:lstStyle/>
                    <a:p>
                      <a:pPr algn="l"/>
                      <a:r>
                        <a:rPr kumimoji="1" lang="ja-JP" altLang="en-US" sz="1100" b="1">
                          <a:solidFill>
                            <a:schemeClr val="bg1"/>
                          </a:solidFill>
                        </a:rPr>
                        <a:t>①</a:t>
                      </a:r>
                      <a:endParaRPr kumimoji="1" lang="en-US" altLang="ja-JP" sz="1100" b="1">
                        <a:solidFill>
                          <a:schemeClr val="bg1"/>
                        </a:solidFill>
                      </a:endParaRPr>
                    </a:p>
                    <a:p>
                      <a:pPr algn="l"/>
                      <a:endParaRPr kumimoji="1" lang="en-US" altLang="ja-JP" sz="1100" b="1">
                        <a:solidFill>
                          <a:schemeClr val="bg1"/>
                        </a:solidFill>
                      </a:endParaRPr>
                    </a:p>
                  </a:txBody>
                  <a:tcPr>
                    <a:solidFill>
                      <a:schemeClr val="accent1"/>
                    </a:solidFill>
                  </a:tcPr>
                </a:tc>
                <a:tc>
                  <a:txBody>
                    <a:bodyPr/>
                    <a:lstStyle/>
                    <a:p>
                      <a:pPr algn="l"/>
                      <a:r>
                        <a:rPr kumimoji="1" lang="ja-JP" altLang="en-US" sz="1100" b="1">
                          <a:solidFill>
                            <a:schemeClr val="bg1"/>
                          </a:solidFill>
                        </a:rPr>
                        <a:t>支店・支社（営業部門）</a:t>
                      </a:r>
                    </a:p>
                  </a:txBody>
                  <a:tcPr>
                    <a:solidFill>
                      <a:schemeClr val="accent1"/>
                    </a:solidFill>
                  </a:tcPr>
                </a:tc>
                <a:tc>
                  <a:txBody>
                    <a:bodyPr/>
                    <a:lstStyle/>
                    <a:p>
                      <a:pPr marL="171450" indent="-171450" algn="l">
                        <a:buFont typeface="Arial" panose="020B0604020202020204" pitchFamily="34" charset="0"/>
                        <a:buChar char="•"/>
                      </a:pPr>
                      <a:r>
                        <a:rPr kumimoji="1" lang="ja-JP" altLang="en-US" sz="1100"/>
                        <a:t>文書作成依頼を起票する</a:t>
                      </a:r>
                      <a:endParaRPr kumimoji="1" lang="en-US" altLang="ja-JP" sz="1100"/>
                    </a:p>
                    <a:p>
                      <a:pPr marL="171450" indent="-171450" algn="l">
                        <a:buFont typeface="Arial" panose="020B0604020202020204" pitchFamily="34" charset="0"/>
                        <a:buChar char="•"/>
                      </a:pPr>
                      <a:r>
                        <a:rPr kumimoji="1" lang="ja-JP" altLang="en-US" sz="1100"/>
                        <a:t>顧客提出を行い、契約に応じた登録を行う　</a:t>
                      </a:r>
                      <a:endParaRPr kumimoji="1" lang="en-US" altLang="ja-JP" sz="1100"/>
                    </a:p>
                  </a:txBody>
                  <a:tcPr/>
                </a:tc>
                <a:extLst>
                  <a:ext uri="{0D108BD9-81ED-4DB2-BD59-A6C34878D82A}">
                    <a16:rowId xmlns:a16="http://schemas.microsoft.com/office/drawing/2014/main" val="3028206946"/>
                  </a:ext>
                </a:extLst>
              </a:tr>
              <a:tr h="436565">
                <a:tc>
                  <a:txBody>
                    <a:bodyPr/>
                    <a:lstStyle/>
                    <a:p>
                      <a:pPr algn="l"/>
                      <a:r>
                        <a:rPr kumimoji="1" lang="ja-JP" altLang="en-US" sz="1100" b="1">
                          <a:solidFill>
                            <a:schemeClr val="bg1"/>
                          </a:solidFill>
                        </a:rPr>
                        <a:t>②</a:t>
                      </a:r>
                    </a:p>
                  </a:txBody>
                  <a:tcPr>
                    <a:solidFill>
                      <a:schemeClr val="accent1"/>
                    </a:solidFill>
                  </a:tcPr>
                </a:tc>
                <a:tc>
                  <a:txBody>
                    <a:bodyPr/>
                    <a:lstStyle/>
                    <a:p>
                      <a:pPr algn="l"/>
                      <a:r>
                        <a:rPr kumimoji="1" lang="ja-JP" altLang="en-US" sz="1100" b="1">
                          <a:solidFill>
                            <a:schemeClr val="bg1"/>
                          </a:solidFill>
                        </a:rPr>
                        <a:t>事業部</a:t>
                      </a:r>
                    </a:p>
                  </a:txBody>
                  <a:tcPr>
                    <a:solidFill>
                      <a:schemeClr val="accent1"/>
                    </a:solidFill>
                  </a:tcPr>
                </a:tc>
                <a:tc>
                  <a:txBody>
                    <a:bodyPr/>
                    <a:lstStyle/>
                    <a:p>
                      <a:pPr marL="171450" indent="-171450" algn="l">
                        <a:buFont typeface="Arial" panose="020B0604020202020204" pitchFamily="34" charset="0"/>
                        <a:buChar char="•"/>
                      </a:pPr>
                      <a:r>
                        <a:rPr lang="ja-JP" altLang="en-US" sz="1100"/>
                        <a:t>作成依頼に応じて文書案を作成する。</a:t>
                      </a:r>
                      <a:endParaRPr lang="en-US" altLang="ja-JP" sz="1100"/>
                    </a:p>
                    <a:p>
                      <a:pPr marL="171450" indent="-171450" algn="l">
                        <a:buFont typeface="Arial" panose="020B0604020202020204" pitchFamily="34" charset="0"/>
                        <a:buChar char="•"/>
                      </a:pPr>
                      <a:r>
                        <a:rPr lang="ja-JP" altLang="en-US" sz="1100"/>
                        <a:t>事業所へ文書案の確認・必要書類の追加を依頼する</a:t>
                      </a:r>
                      <a:endParaRPr kumimoji="1" lang="en-US" altLang="ja-JP" sz="1100"/>
                    </a:p>
                  </a:txBody>
                  <a:tcPr/>
                </a:tc>
                <a:extLst>
                  <a:ext uri="{0D108BD9-81ED-4DB2-BD59-A6C34878D82A}">
                    <a16:rowId xmlns:a16="http://schemas.microsoft.com/office/drawing/2014/main" val="1928206092"/>
                  </a:ext>
                </a:extLst>
              </a:tr>
              <a:tr h="436565">
                <a:tc>
                  <a:txBody>
                    <a:bodyPr/>
                    <a:lstStyle/>
                    <a:p>
                      <a:pPr algn="l"/>
                      <a:r>
                        <a:rPr kumimoji="1" lang="ja-JP" altLang="en-US" sz="1100" b="1">
                          <a:solidFill>
                            <a:schemeClr val="bg1"/>
                          </a:solidFill>
                        </a:rPr>
                        <a:t>③</a:t>
                      </a:r>
                    </a:p>
                  </a:txBody>
                  <a:tcPr>
                    <a:solidFill>
                      <a:schemeClr val="accent1"/>
                    </a:solidFill>
                  </a:tcPr>
                </a:tc>
                <a:tc>
                  <a:txBody>
                    <a:bodyPr/>
                    <a:lstStyle/>
                    <a:p>
                      <a:pPr algn="l"/>
                      <a:r>
                        <a:rPr kumimoji="1" lang="ja-JP" altLang="en-US" sz="1100" b="1">
                          <a:solidFill>
                            <a:schemeClr val="bg1"/>
                          </a:solidFill>
                        </a:rPr>
                        <a:t>事業所（窓口）</a:t>
                      </a:r>
                    </a:p>
                  </a:txBody>
                  <a:tcPr>
                    <a:solidFill>
                      <a:schemeClr val="accent1"/>
                    </a:solidFill>
                  </a:tcPr>
                </a:tc>
                <a:tc>
                  <a:txBody>
                    <a:bodyPr/>
                    <a:lstStyle/>
                    <a:p>
                      <a:pPr marL="171450" indent="-171450" algn="l">
                        <a:buFont typeface="Arial" panose="020B0604020202020204" pitchFamily="34" charset="0"/>
                        <a:buChar char="•"/>
                      </a:pPr>
                      <a:r>
                        <a:rPr kumimoji="1" lang="ja-JP" altLang="en-US" sz="1100"/>
                        <a:t>文書を確認し、ワークフロー設定を行う</a:t>
                      </a:r>
                      <a:endParaRPr kumimoji="1" lang="en-US" altLang="ja-JP" sz="1100"/>
                    </a:p>
                  </a:txBody>
                  <a:tcPr/>
                </a:tc>
                <a:extLst>
                  <a:ext uri="{0D108BD9-81ED-4DB2-BD59-A6C34878D82A}">
                    <a16:rowId xmlns:a16="http://schemas.microsoft.com/office/drawing/2014/main" val="1560310689"/>
                  </a:ext>
                </a:extLst>
              </a:tr>
              <a:tr h="436565">
                <a:tc>
                  <a:txBody>
                    <a:bodyPr/>
                    <a:lstStyle/>
                    <a:p>
                      <a:pPr algn="l"/>
                      <a:r>
                        <a:rPr kumimoji="1" lang="ja-JP" altLang="en-US" sz="1100" b="1">
                          <a:solidFill>
                            <a:schemeClr val="bg1"/>
                          </a:solidFill>
                        </a:rPr>
                        <a:t>④</a:t>
                      </a:r>
                    </a:p>
                  </a:txBody>
                  <a:tcPr>
                    <a:solidFill>
                      <a:schemeClr val="accent1"/>
                    </a:solidFill>
                  </a:tcPr>
                </a:tc>
                <a:tc>
                  <a:txBody>
                    <a:bodyPr/>
                    <a:lstStyle/>
                    <a:p>
                      <a:pPr algn="l"/>
                      <a:r>
                        <a:rPr kumimoji="1" lang="ja-JP" altLang="en-US" sz="1100" b="1">
                          <a:solidFill>
                            <a:schemeClr val="bg1"/>
                          </a:solidFill>
                        </a:rPr>
                        <a:t>事業所（作成部門）</a:t>
                      </a:r>
                    </a:p>
                  </a:txBody>
                  <a:tcPr>
                    <a:solidFill>
                      <a:schemeClr val="accent1"/>
                    </a:solidFill>
                  </a:tcPr>
                </a:tc>
                <a:tc>
                  <a:txBody>
                    <a:bodyPr/>
                    <a:lstStyle/>
                    <a:p>
                      <a:pPr marL="171450" indent="-171450" algn="l">
                        <a:buFont typeface="Arial" panose="020B0604020202020204" pitchFamily="34" charset="0"/>
                        <a:buChar char="•"/>
                      </a:pPr>
                      <a:r>
                        <a:rPr kumimoji="1" lang="ja-JP" altLang="en-US" sz="1100"/>
                        <a:t>文書を確認し、編集する（作成部門）</a:t>
                      </a:r>
                      <a:endParaRPr kumimoji="1" lang="en-US" altLang="ja-JP" sz="1100"/>
                    </a:p>
                    <a:p>
                      <a:pPr marL="171450" indent="-171450" algn="l">
                        <a:buFont typeface="Arial" panose="020B0604020202020204" pitchFamily="34" charset="0"/>
                        <a:buChar char="•"/>
                      </a:pPr>
                      <a:r>
                        <a:rPr kumimoji="1" lang="ja-JP" altLang="en-US" sz="1100"/>
                        <a:t>文書を確認し、審査を行う（確認審査部門①</a:t>
                      </a:r>
                      <a:r>
                        <a:rPr kumimoji="1" lang="en-US" altLang="ja-JP" sz="1100"/>
                        <a:t>,</a:t>
                      </a:r>
                      <a:r>
                        <a:rPr kumimoji="1" lang="ja-JP" altLang="en-US" sz="1100"/>
                        <a:t>②）</a:t>
                      </a:r>
                      <a:endParaRPr kumimoji="1" lang="en-US" altLang="ja-JP" sz="1100"/>
                    </a:p>
                  </a:txBody>
                  <a:tcPr/>
                </a:tc>
                <a:extLst>
                  <a:ext uri="{0D108BD9-81ED-4DB2-BD59-A6C34878D82A}">
                    <a16:rowId xmlns:a16="http://schemas.microsoft.com/office/drawing/2014/main" val="4039432576"/>
                  </a:ext>
                </a:extLst>
              </a:tr>
              <a:tr h="436565">
                <a:tc>
                  <a:txBody>
                    <a:bodyPr/>
                    <a:lstStyle/>
                    <a:p>
                      <a:pPr algn="l"/>
                      <a:r>
                        <a:rPr kumimoji="1" lang="ja-JP" altLang="en-US" sz="1100" b="1">
                          <a:solidFill>
                            <a:schemeClr val="bg1"/>
                          </a:solidFill>
                        </a:rPr>
                        <a:t>⑤</a:t>
                      </a:r>
                    </a:p>
                  </a:txBody>
                  <a:tcPr>
                    <a:solidFill>
                      <a:schemeClr val="accent1"/>
                    </a:solidFill>
                  </a:tcPr>
                </a:tc>
                <a:tc>
                  <a:txBody>
                    <a:bodyPr/>
                    <a:lstStyle/>
                    <a:p>
                      <a:pPr algn="l"/>
                      <a:r>
                        <a:rPr kumimoji="1" lang="ja-JP" altLang="en-US" sz="1100" b="1">
                          <a:solidFill>
                            <a:schemeClr val="bg1"/>
                          </a:solidFill>
                        </a:rPr>
                        <a:t>最終承認部門</a:t>
                      </a:r>
                    </a:p>
                  </a:txBody>
                  <a:tcPr>
                    <a:solidFill>
                      <a:schemeClr val="accent1"/>
                    </a:solidFill>
                  </a:tcPr>
                </a:tc>
                <a:tc>
                  <a:txBody>
                    <a:bodyPr/>
                    <a:lstStyle/>
                    <a:p>
                      <a:pPr marL="171450" indent="-171450" algn="l">
                        <a:buFont typeface="Arial" panose="020B0604020202020204" pitchFamily="34" charset="0"/>
                        <a:buChar char="•"/>
                      </a:pPr>
                      <a:r>
                        <a:rPr kumimoji="1" lang="ja-JP" altLang="en-US" sz="1100"/>
                        <a:t>作成部署内の最終承認部門（品質保証部など）として、承認を行う</a:t>
                      </a:r>
                    </a:p>
                  </a:txBody>
                  <a:tcPr/>
                </a:tc>
                <a:extLst>
                  <a:ext uri="{0D108BD9-81ED-4DB2-BD59-A6C34878D82A}">
                    <a16:rowId xmlns:a16="http://schemas.microsoft.com/office/drawing/2014/main" val="1613863121"/>
                  </a:ext>
                </a:extLst>
              </a:tr>
              <a:tr h="436565">
                <a:tc>
                  <a:txBody>
                    <a:bodyPr/>
                    <a:lstStyle/>
                    <a:p>
                      <a:pPr algn="l"/>
                      <a:r>
                        <a:rPr kumimoji="1" lang="ja-JP" altLang="en-US" sz="1100" b="1">
                          <a:solidFill>
                            <a:schemeClr val="bg1"/>
                          </a:solidFill>
                        </a:rPr>
                        <a:t>⑥</a:t>
                      </a:r>
                    </a:p>
                  </a:txBody>
                  <a:tcPr>
                    <a:solidFill>
                      <a:schemeClr val="accent1"/>
                    </a:solidFill>
                  </a:tcPr>
                </a:tc>
                <a:tc>
                  <a:txBody>
                    <a:bodyPr/>
                    <a:lstStyle/>
                    <a:p>
                      <a:pPr algn="l"/>
                      <a:r>
                        <a:rPr kumimoji="1" lang="ja-JP" altLang="en-US" sz="1100" b="1">
                          <a:solidFill>
                            <a:schemeClr val="bg1"/>
                          </a:solidFill>
                        </a:rPr>
                        <a:t>保管責任者</a:t>
                      </a:r>
                    </a:p>
                  </a:txBody>
                  <a:tcPr>
                    <a:solidFill>
                      <a:schemeClr val="accent1"/>
                    </a:solidFill>
                  </a:tcPr>
                </a:tc>
                <a:tc>
                  <a:txBody>
                    <a:bodyPr/>
                    <a:lstStyle/>
                    <a:p>
                      <a:pPr marL="171450" indent="-171450" algn="l">
                        <a:buFont typeface="Arial" panose="020B0604020202020204" pitchFamily="34" charset="0"/>
                        <a:buChar char="•"/>
                      </a:pPr>
                      <a:r>
                        <a:rPr kumimoji="1" lang="ja-JP" altLang="en-US" sz="1100"/>
                        <a:t>顧客提出済みの文書の登録処理を行う</a:t>
                      </a:r>
                    </a:p>
                  </a:txBody>
                  <a:tcPr/>
                </a:tc>
                <a:extLst>
                  <a:ext uri="{0D108BD9-81ED-4DB2-BD59-A6C34878D82A}">
                    <a16:rowId xmlns:a16="http://schemas.microsoft.com/office/drawing/2014/main" val="2908841805"/>
                  </a:ext>
                </a:extLst>
              </a:tr>
              <a:tr h="436565">
                <a:tc>
                  <a:txBody>
                    <a:bodyPr/>
                    <a:lstStyle/>
                    <a:p>
                      <a:pPr algn="l"/>
                      <a:r>
                        <a:rPr kumimoji="1" lang="ja-JP" altLang="en-US" sz="1100" b="1">
                          <a:solidFill>
                            <a:schemeClr val="bg1"/>
                          </a:solidFill>
                        </a:rPr>
                        <a:t>⑦</a:t>
                      </a:r>
                    </a:p>
                  </a:txBody>
                  <a:tcPr>
                    <a:solidFill>
                      <a:schemeClr val="accent1"/>
                    </a:solidFill>
                  </a:tcPr>
                </a:tc>
                <a:tc>
                  <a:txBody>
                    <a:bodyPr/>
                    <a:lstStyle/>
                    <a:p>
                      <a:pPr algn="l"/>
                      <a:r>
                        <a:rPr kumimoji="1" lang="ja-JP" altLang="en-US" sz="1100" b="1">
                          <a:solidFill>
                            <a:schemeClr val="bg1"/>
                          </a:solidFill>
                        </a:rPr>
                        <a:t>登録者</a:t>
                      </a:r>
                    </a:p>
                  </a:txBody>
                  <a:tcPr>
                    <a:solidFill>
                      <a:schemeClr val="accent1"/>
                    </a:solidFill>
                  </a:tcPr>
                </a:tc>
                <a:tc>
                  <a:txBody>
                    <a:bodyPr/>
                    <a:lstStyle/>
                    <a:p>
                      <a:pPr marL="171450" indent="-171450" algn="l">
                        <a:buFont typeface="Arial" panose="020B0604020202020204" pitchFamily="34" charset="0"/>
                        <a:buChar char="•"/>
                      </a:pPr>
                      <a:r>
                        <a:rPr kumimoji="1" lang="ja-JP" altLang="en-US" sz="1100"/>
                        <a:t>ワークフローなしに登録できる文書を登録する</a:t>
                      </a:r>
                    </a:p>
                  </a:txBody>
                  <a:tcPr/>
                </a:tc>
                <a:extLst>
                  <a:ext uri="{0D108BD9-81ED-4DB2-BD59-A6C34878D82A}">
                    <a16:rowId xmlns:a16="http://schemas.microsoft.com/office/drawing/2014/main" val="1974939878"/>
                  </a:ext>
                </a:extLst>
              </a:tr>
              <a:tr h="436565">
                <a:tc>
                  <a:txBody>
                    <a:bodyPr/>
                    <a:lstStyle/>
                    <a:p>
                      <a:pPr algn="l"/>
                      <a:r>
                        <a:rPr kumimoji="1" lang="ja-JP" altLang="en-US" sz="1100" b="1">
                          <a:solidFill>
                            <a:schemeClr val="bg1"/>
                          </a:solidFill>
                        </a:rPr>
                        <a:t>⑧</a:t>
                      </a:r>
                    </a:p>
                  </a:txBody>
                  <a:tcPr>
                    <a:solidFill>
                      <a:schemeClr val="accent1"/>
                    </a:solidFill>
                  </a:tcPr>
                </a:tc>
                <a:tc>
                  <a:txBody>
                    <a:bodyPr/>
                    <a:lstStyle/>
                    <a:p>
                      <a:pPr algn="l"/>
                      <a:r>
                        <a:rPr kumimoji="1" lang="ja-JP" altLang="en-US" sz="1100" b="1">
                          <a:solidFill>
                            <a:schemeClr val="bg1"/>
                          </a:solidFill>
                        </a:rPr>
                        <a:t>関係者</a:t>
                      </a:r>
                    </a:p>
                  </a:txBody>
                  <a:tcPr>
                    <a:solidFill>
                      <a:schemeClr val="accent1"/>
                    </a:solidFill>
                  </a:tcPr>
                </a:tc>
                <a:tc>
                  <a:txBody>
                    <a:bodyPr/>
                    <a:lstStyle/>
                    <a:p>
                      <a:pPr marL="171450" indent="-171450" algn="l">
                        <a:buFont typeface="Arial" panose="020B0604020202020204" pitchFamily="34" charset="0"/>
                        <a:buChar char="•"/>
                      </a:pPr>
                      <a:r>
                        <a:rPr kumimoji="1" lang="ja-JP" altLang="en-US" sz="1100"/>
                        <a:t>ワークフローなしに登録できる文書の関係者として通知を受領する</a:t>
                      </a:r>
                    </a:p>
                  </a:txBody>
                  <a:tcPr/>
                </a:tc>
                <a:extLst>
                  <a:ext uri="{0D108BD9-81ED-4DB2-BD59-A6C34878D82A}">
                    <a16:rowId xmlns:a16="http://schemas.microsoft.com/office/drawing/2014/main" val="539348816"/>
                  </a:ext>
                </a:extLst>
              </a:tr>
              <a:tr h="436565">
                <a:tc>
                  <a:txBody>
                    <a:bodyPr/>
                    <a:lstStyle/>
                    <a:p>
                      <a:pPr algn="l"/>
                      <a:r>
                        <a:rPr kumimoji="1" lang="ja-JP" altLang="en-US" sz="1100" b="1">
                          <a:solidFill>
                            <a:schemeClr val="bg1"/>
                          </a:solidFill>
                        </a:rPr>
                        <a:t>⑨</a:t>
                      </a:r>
                    </a:p>
                  </a:txBody>
                  <a:tcPr>
                    <a:solidFill>
                      <a:schemeClr val="accent1"/>
                    </a:solidFill>
                  </a:tcPr>
                </a:tc>
                <a:tc>
                  <a:txBody>
                    <a:bodyPr/>
                    <a:lstStyle/>
                    <a:p>
                      <a:pPr algn="l"/>
                      <a:r>
                        <a:rPr kumimoji="1" lang="ja-JP" altLang="en-US" sz="1100" b="1">
                          <a:solidFill>
                            <a:schemeClr val="bg1"/>
                          </a:solidFill>
                        </a:rPr>
                        <a:t>利用者</a:t>
                      </a:r>
                    </a:p>
                  </a:txBody>
                  <a:tcPr>
                    <a:solidFill>
                      <a:schemeClr val="accent1"/>
                    </a:solidFill>
                  </a:tcPr>
                </a:tc>
                <a:tc>
                  <a:txBody>
                    <a:bodyPr/>
                    <a:lstStyle/>
                    <a:p>
                      <a:pPr marL="171450" indent="-171450" algn="l">
                        <a:buFont typeface="Arial" panose="020B0604020202020204" pitchFamily="34" charset="0"/>
                        <a:buChar char="•"/>
                      </a:pPr>
                      <a:r>
                        <a:rPr kumimoji="1" lang="ja-JP" altLang="en-US" sz="1100"/>
                        <a:t>業務に応じて必要な機能を利用する</a:t>
                      </a:r>
                    </a:p>
                  </a:txBody>
                  <a:tcPr/>
                </a:tc>
                <a:extLst>
                  <a:ext uri="{0D108BD9-81ED-4DB2-BD59-A6C34878D82A}">
                    <a16:rowId xmlns:a16="http://schemas.microsoft.com/office/drawing/2014/main" val="820202985"/>
                  </a:ext>
                </a:extLst>
              </a:tr>
            </a:tbl>
          </a:graphicData>
        </a:graphic>
      </p:graphicFrame>
    </p:spTree>
    <p:extLst>
      <p:ext uri="{BB962C8B-B14F-4D97-AF65-F5344CB8AC3E}">
        <p14:creationId xmlns:p14="http://schemas.microsoft.com/office/powerpoint/2010/main" val="13625444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84D1DA-97ED-2719-33EF-A13650BDF72A}"/>
              </a:ext>
            </a:extLst>
          </p:cNvPr>
          <p:cNvGraphicFramePr>
            <a:graphicFrameLocks noChangeAspect="1"/>
          </p:cNvGraphicFramePr>
          <p:nvPr>
            <p:custDataLst>
              <p:tags r:id="rId1"/>
            </p:custDataLst>
            <p:extLst>
              <p:ext uri="{D42A27DB-BD31-4B8C-83A1-F6EECF244321}">
                <p14:modId xmlns:p14="http://schemas.microsoft.com/office/powerpoint/2010/main" val="3381218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2A84D1DA-97ED-2719-33EF-A13650BDF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C0CD4ED1-0F74-83B6-F4AC-8C87103B97BF}"/>
              </a:ext>
            </a:extLst>
          </p:cNvPr>
          <p:cNvSpPr>
            <a:spLocks noGrp="1"/>
          </p:cNvSpPr>
          <p:nvPr>
            <p:ph type="title"/>
          </p:nvPr>
        </p:nvSpPr>
        <p:spPr/>
        <p:txBody>
          <a:bodyPr vert="horz"/>
          <a:lstStyle/>
          <a:p>
            <a:r>
              <a:rPr lang="ja-JP" altLang="en-US"/>
              <a:t>２．機能要件</a:t>
            </a:r>
            <a:endParaRPr kumimoji="1" lang="ja-JP" altLang="en-US"/>
          </a:p>
        </p:txBody>
      </p:sp>
      <p:sp>
        <p:nvSpPr>
          <p:cNvPr id="2" name="テキスト プレースホルダー 4">
            <a:extLst>
              <a:ext uri="{FF2B5EF4-FFF2-40B4-BE49-F238E27FC236}">
                <a16:creationId xmlns:a16="http://schemas.microsoft.com/office/drawing/2014/main" id="{8C7248DA-8503-9EF0-B175-7D9E97972DDA}"/>
              </a:ext>
            </a:extLst>
          </p:cNvPr>
          <p:cNvSpPr txBox="1">
            <a:spLocks/>
          </p:cNvSpPr>
          <p:nvPr/>
        </p:nvSpPr>
        <p:spPr>
          <a:xfrm>
            <a:off x="251524" y="1052963"/>
            <a:ext cx="8640950" cy="36512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5)</a:t>
            </a:r>
            <a:r>
              <a:rPr kumimoji="1" lang="ja-JP" altLang="en-US" sz="1800"/>
              <a:t>データベース一覧</a:t>
            </a:r>
            <a:endParaRPr kumimoji="1" lang="en-US" altLang="zh-TW"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5" name="コンテンツ プレースホルダー 6">
            <a:extLst>
              <a:ext uri="{FF2B5EF4-FFF2-40B4-BE49-F238E27FC236}">
                <a16:creationId xmlns:a16="http://schemas.microsoft.com/office/drawing/2014/main" id="{CA9AD951-AB0A-F544-7224-4DC94CDD3179}"/>
              </a:ext>
            </a:extLst>
          </p:cNvPr>
          <p:cNvSpPr txBox="1">
            <a:spLocks/>
          </p:cNvSpPr>
          <p:nvPr/>
        </p:nvSpPr>
        <p:spPr>
          <a:xfrm>
            <a:off x="251519" y="1553324"/>
            <a:ext cx="8603312" cy="2500516"/>
          </a:xfrm>
          <a:prstGeom prst="rect">
            <a:avLst/>
          </a:prstGeom>
        </p:spPr>
        <p:txBody>
          <a:bodyPr vert="horz" lIns="0" tIns="0" rIns="0" bIns="0" rtlCol="0">
            <a:normAutofit/>
          </a:bodyPr>
          <a:lstStyle>
            <a:lvl1pPr marL="285750" indent="-285750" algn="l" defTabSz="914400" rtl="0" eaLnBrk="1" latinLnBrk="0" hangingPunct="1">
              <a:lnSpc>
                <a:spcPct val="150000"/>
              </a:lnSpc>
              <a:spcBef>
                <a:spcPts val="1000"/>
              </a:spcBef>
              <a:buFont typeface="Arial" panose="020B0604020202020204" pitchFamily="34" charset="0"/>
              <a:buChar char="•"/>
              <a:defRPr kumimoji="1" sz="1600" kern="1200" baseline="0">
                <a:solidFill>
                  <a:schemeClr val="tx1"/>
                </a:solidFill>
                <a:latin typeface="+mn-lt"/>
                <a:ea typeface="+mn-ea"/>
                <a:cs typeface="+mn-cs"/>
              </a:defRPr>
            </a:lvl1pPr>
            <a:lvl2pPr marL="64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100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3pPr>
            <a:lvl4pPr marL="136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4pPr>
            <a:lvl5pPr marL="172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ja-JP" altLang="en-US" sz="1400">
                <a:solidFill>
                  <a:srgbClr val="000000"/>
                </a:solidFill>
                <a:latin typeface="+mn-ea"/>
              </a:rPr>
              <a:t>データ種類はマスターデータとトランザクションデータに大別される</a:t>
            </a:r>
            <a:endParaRPr lang="en-US" altLang="ja-JP" sz="1400">
              <a:solidFill>
                <a:srgbClr val="000000"/>
              </a:solidFill>
              <a:latin typeface="+mn-ea"/>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ja-JP" altLang="en-US" sz="1400">
                <a:solidFill>
                  <a:srgbClr val="000000"/>
                </a:solidFill>
                <a:latin typeface="+mn-ea"/>
              </a:rPr>
              <a:t>データは新規作成するものではなく、既存のデータをもとに作成することを留意</a:t>
            </a:r>
            <a:endParaRPr lang="en-US" altLang="ja-JP" sz="1400">
              <a:solidFill>
                <a:srgbClr val="000000"/>
              </a:solidFill>
              <a:latin typeface="+mn-ea"/>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US" altLang="ja-JP" sz="1400">
              <a:solidFill>
                <a:srgbClr val="000000"/>
              </a:solidFill>
              <a:latin typeface="+mn-ea"/>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US" altLang="ja-JP" sz="1400">
              <a:solidFill>
                <a:srgbClr val="000000"/>
              </a:solidFill>
              <a:latin typeface="+mn-ea"/>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US" altLang="ja-JP" sz="1400">
              <a:solidFill>
                <a:srgbClr val="000000"/>
              </a:solidFill>
              <a:latin typeface="+mn-ea"/>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US" altLang="ja-JP" sz="1400">
              <a:solidFill>
                <a:srgbClr val="000000"/>
              </a:solidFill>
              <a:latin typeface="+mn-ea"/>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US" altLang="ja-JP" sz="1400">
              <a:solidFill>
                <a:srgbClr val="000000"/>
              </a:solidFill>
              <a:latin typeface="+mn-ea"/>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ja-JP" altLang="en-US" sz="1400">
                <a:solidFill>
                  <a:srgbClr val="000000"/>
                </a:solidFill>
                <a:latin typeface="+mn-ea"/>
              </a:rPr>
              <a:t>文書数及び文書量は「</a:t>
            </a:r>
            <a:r>
              <a:rPr lang="ja-JP" altLang="en-US" sz="1400">
                <a:hlinkClick r:id="rId5"/>
              </a:rPr>
              <a:t>製品仕様書管理</a:t>
            </a:r>
            <a:r>
              <a:rPr lang="en-US" altLang="ja-JP" sz="1400">
                <a:hlinkClick r:id="rId5"/>
              </a:rPr>
              <a:t>_DB</a:t>
            </a:r>
            <a:r>
              <a:rPr lang="ja-JP" altLang="en-US" sz="1400">
                <a:hlinkClick r:id="rId5"/>
              </a:rPr>
              <a:t>データ一覧</a:t>
            </a:r>
            <a:r>
              <a:rPr lang="en-US" altLang="ja-JP" sz="1400">
                <a:hlinkClick r:id="rId5"/>
              </a:rPr>
              <a:t>.xlsx </a:t>
            </a:r>
            <a:r>
              <a:rPr lang="ja-JP" altLang="en-US" sz="1400">
                <a:solidFill>
                  <a:srgbClr val="000000"/>
                </a:solidFill>
                <a:latin typeface="+mn-ea"/>
              </a:rPr>
              <a:t>」参照とする</a:t>
            </a:r>
            <a:endParaRPr lang="en-US" altLang="ja-JP" sz="1400">
              <a:solidFill>
                <a:srgbClr val="000000"/>
              </a:solidFill>
              <a:latin typeface="+mn-ea"/>
            </a:endParaRPr>
          </a:p>
        </p:txBody>
      </p:sp>
      <p:sp>
        <p:nvSpPr>
          <p:cNvPr id="12" name="正方形/長方形 11">
            <a:extLst>
              <a:ext uri="{FF2B5EF4-FFF2-40B4-BE49-F238E27FC236}">
                <a16:creationId xmlns:a16="http://schemas.microsoft.com/office/drawing/2014/main" id="{D887B3BB-0516-21F0-A43B-E49958BA6439}"/>
              </a:ext>
            </a:extLst>
          </p:cNvPr>
          <p:cNvSpPr/>
          <p:nvPr/>
        </p:nvSpPr>
        <p:spPr>
          <a:xfrm>
            <a:off x="322198" y="2541276"/>
            <a:ext cx="1067785" cy="392144"/>
          </a:xfrm>
          <a:prstGeom prst="rect">
            <a:avLst/>
          </a:prstGeom>
          <a:solidFill>
            <a:schemeClr val="tx1">
              <a:lumMod val="50000"/>
              <a:lumOff val="50000"/>
            </a:schemeClr>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lgn="ctr"/>
            <a:r>
              <a:rPr lang="ja-JP" altLang="en-US" sz="1200">
                <a:solidFill>
                  <a:schemeClr val="bg1"/>
                </a:solidFill>
              </a:rPr>
              <a:t>マスタデータ</a:t>
            </a:r>
            <a:endParaRPr kumimoji="1" lang="ja-JP" altLang="en-US" sz="1200">
              <a:solidFill>
                <a:schemeClr val="bg1"/>
              </a:solidFill>
            </a:endParaRPr>
          </a:p>
        </p:txBody>
      </p:sp>
      <p:sp>
        <p:nvSpPr>
          <p:cNvPr id="13" name="正方形/長方形 12">
            <a:extLst>
              <a:ext uri="{FF2B5EF4-FFF2-40B4-BE49-F238E27FC236}">
                <a16:creationId xmlns:a16="http://schemas.microsoft.com/office/drawing/2014/main" id="{98411CF8-7957-1DA7-507D-8963724BFDFC}"/>
              </a:ext>
            </a:extLst>
          </p:cNvPr>
          <p:cNvSpPr/>
          <p:nvPr/>
        </p:nvSpPr>
        <p:spPr>
          <a:xfrm>
            <a:off x="322198" y="3005798"/>
            <a:ext cx="1067785" cy="392144"/>
          </a:xfrm>
          <a:prstGeom prst="rect">
            <a:avLst/>
          </a:prstGeom>
          <a:solidFill>
            <a:schemeClr val="tx1">
              <a:lumMod val="50000"/>
              <a:lumOff val="50000"/>
            </a:schemeClr>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lgn="ctr"/>
            <a:r>
              <a:rPr kumimoji="1" lang="ja-JP" altLang="en-US" sz="1200">
                <a:solidFill>
                  <a:schemeClr val="bg1"/>
                </a:solidFill>
              </a:rPr>
              <a:t>トランザクションデータ</a:t>
            </a:r>
          </a:p>
        </p:txBody>
      </p:sp>
      <p:sp>
        <p:nvSpPr>
          <p:cNvPr id="14" name="正方形/長方形 13">
            <a:extLst>
              <a:ext uri="{FF2B5EF4-FFF2-40B4-BE49-F238E27FC236}">
                <a16:creationId xmlns:a16="http://schemas.microsoft.com/office/drawing/2014/main" id="{97031C94-F35D-9884-1E15-65AB6E2D96E2}"/>
              </a:ext>
            </a:extLst>
          </p:cNvPr>
          <p:cNvSpPr/>
          <p:nvPr/>
        </p:nvSpPr>
        <p:spPr>
          <a:xfrm>
            <a:off x="1389984" y="2541276"/>
            <a:ext cx="7431816" cy="392144"/>
          </a:xfrm>
          <a:prstGeom prst="rect">
            <a:avLst/>
          </a:prstGeom>
          <a:solidFill>
            <a:schemeClr val="bg1"/>
          </a:solidFill>
          <a:ln w="6350" cap="flat" cmpd="sng" algn="ctr">
            <a:solidFill>
              <a:schemeClr val="bg1">
                <a:lumMod val="7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marL="171450" indent="-171450">
              <a:buFont typeface="Arial" panose="020B0604020202020204" pitchFamily="34" charset="0"/>
              <a:buChar char="•"/>
            </a:pPr>
            <a:r>
              <a:rPr lang="ja-JP" altLang="en-US" sz="1200"/>
              <a:t>業務の中で文書作成時に参照されるデータ</a:t>
            </a:r>
          </a:p>
        </p:txBody>
      </p:sp>
      <p:sp>
        <p:nvSpPr>
          <p:cNvPr id="15" name="正方形/長方形 14">
            <a:extLst>
              <a:ext uri="{FF2B5EF4-FFF2-40B4-BE49-F238E27FC236}">
                <a16:creationId xmlns:a16="http://schemas.microsoft.com/office/drawing/2014/main" id="{D043DB06-DDA6-5B1D-907B-272BC84915FE}"/>
              </a:ext>
            </a:extLst>
          </p:cNvPr>
          <p:cNvSpPr/>
          <p:nvPr/>
        </p:nvSpPr>
        <p:spPr>
          <a:xfrm>
            <a:off x="1389984" y="3005798"/>
            <a:ext cx="7431816" cy="392144"/>
          </a:xfrm>
          <a:prstGeom prst="rect">
            <a:avLst/>
          </a:prstGeom>
          <a:solidFill>
            <a:schemeClr val="bg1"/>
          </a:solidFill>
          <a:ln w="6350" cap="flat" cmpd="sng" algn="ctr">
            <a:solidFill>
              <a:schemeClr val="bg1">
                <a:lumMod val="7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marL="171450" indent="-171450">
              <a:buFont typeface="Arial" panose="020B0604020202020204" pitchFamily="34" charset="0"/>
              <a:buChar char="•"/>
            </a:pPr>
            <a:r>
              <a:rPr kumimoji="1" lang="ja-JP" altLang="en-US" sz="1200"/>
              <a:t>日々の業務で作成されるデータ</a:t>
            </a:r>
          </a:p>
        </p:txBody>
      </p:sp>
    </p:spTree>
    <p:extLst>
      <p:ext uri="{BB962C8B-B14F-4D97-AF65-F5344CB8AC3E}">
        <p14:creationId xmlns:p14="http://schemas.microsoft.com/office/powerpoint/2010/main" val="7144832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84D1DA-97ED-2719-33EF-A13650BDF7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2A84D1DA-97ED-2719-33EF-A13650BDF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C0CD4ED1-0F74-83B6-F4AC-8C87103B97BF}"/>
              </a:ext>
            </a:extLst>
          </p:cNvPr>
          <p:cNvSpPr>
            <a:spLocks noGrp="1"/>
          </p:cNvSpPr>
          <p:nvPr>
            <p:ph type="title"/>
          </p:nvPr>
        </p:nvSpPr>
        <p:spPr/>
        <p:txBody>
          <a:bodyPr vert="horz"/>
          <a:lstStyle/>
          <a:p>
            <a:r>
              <a:rPr lang="ja-JP" altLang="en-US"/>
              <a:t>２．機能要件</a:t>
            </a:r>
            <a:endParaRPr kumimoji="1" lang="ja-JP" altLang="en-US"/>
          </a:p>
        </p:txBody>
      </p:sp>
      <p:graphicFrame>
        <p:nvGraphicFramePr>
          <p:cNvPr id="3" name="表 2">
            <a:extLst>
              <a:ext uri="{FF2B5EF4-FFF2-40B4-BE49-F238E27FC236}">
                <a16:creationId xmlns:a16="http://schemas.microsoft.com/office/drawing/2014/main" id="{A4E43284-57D5-B177-675E-BBDFD96678C7}"/>
              </a:ext>
            </a:extLst>
          </p:cNvPr>
          <p:cNvGraphicFramePr>
            <a:graphicFrameLocks noGrp="1"/>
          </p:cNvGraphicFramePr>
          <p:nvPr>
            <p:extLst>
              <p:ext uri="{D42A27DB-BD31-4B8C-83A1-F6EECF244321}">
                <p14:modId xmlns:p14="http://schemas.microsoft.com/office/powerpoint/2010/main" val="4255384480"/>
              </p:ext>
            </p:extLst>
          </p:nvPr>
        </p:nvGraphicFramePr>
        <p:xfrm>
          <a:off x="322199" y="2049565"/>
          <a:ext cx="8499601" cy="3030104"/>
        </p:xfrm>
        <a:graphic>
          <a:graphicData uri="http://schemas.openxmlformats.org/drawingml/2006/table">
            <a:tbl>
              <a:tblPr/>
              <a:tblGrid>
                <a:gridCol w="281271">
                  <a:extLst>
                    <a:ext uri="{9D8B030D-6E8A-4147-A177-3AD203B41FA5}">
                      <a16:colId xmlns:a16="http://schemas.microsoft.com/office/drawing/2014/main" val="795346042"/>
                    </a:ext>
                  </a:extLst>
                </a:gridCol>
                <a:gridCol w="1204769">
                  <a:extLst>
                    <a:ext uri="{9D8B030D-6E8A-4147-A177-3AD203B41FA5}">
                      <a16:colId xmlns:a16="http://schemas.microsoft.com/office/drawing/2014/main" val="782125322"/>
                    </a:ext>
                  </a:extLst>
                </a:gridCol>
                <a:gridCol w="4985423">
                  <a:extLst>
                    <a:ext uri="{9D8B030D-6E8A-4147-A177-3AD203B41FA5}">
                      <a16:colId xmlns:a16="http://schemas.microsoft.com/office/drawing/2014/main" val="3905746928"/>
                    </a:ext>
                  </a:extLst>
                </a:gridCol>
                <a:gridCol w="2028138">
                  <a:extLst>
                    <a:ext uri="{9D8B030D-6E8A-4147-A177-3AD203B41FA5}">
                      <a16:colId xmlns:a16="http://schemas.microsoft.com/office/drawing/2014/main" val="1106066"/>
                    </a:ext>
                  </a:extLst>
                </a:gridCol>
              </a:tblGrid>
              <a:tr h="216436">
                <a:tc>
                  <a:txBody>
                    <a:bodyPr/>
                    <a:lstStyle/>
                    <a:p>
                      <a:pPr algn="l" fontAlgn="b"/>
                      <a:r>
                        <a:rPr lang="en-US" altLang="ja-JP" sz="1050" b="1" i="0" u="none" strike="noStrike">
                          <a:solidFill>
                            <a:srgbClr val="000000"/>
                          </a:solidFill>
                          <a:effectLst/>
                          <a:latin typeface="+mn-ea"/>
                          <a:ea typeface="+mn-ea"/>
                        </a:rPr>
                        <a:t>#</a:t>
                      </a:r>
                    </a:p>
                  </a:txBody>
                  <a:tcPr marL="8386" marR="8386" marT="8386"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ja-JP" altLang="en-US" sz="1050" b="1" i="0" u="none" strike="noStrike">
                          <a:solidFill>
                            <a:srgbClr val="000000"/>
                          </a:solidFill>
                          <a:effectLst/>
                          <a:latin typeface="+mn-ea"/>
                          <a:ea typeface="+mn-ea"/>
                        </a:rPr>
                        <a:t>マスタデータ</a:t>
                      </a:r>
                    </a:p>
                  </a:txBody>
                  <a:tcPr marL="8386" marR="8386" marT="8386"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ja-JP" altLang="en-US" sz="1050" b="1" i="0" u="none" strike="noStrike">
                          <a:solidFill>
                            <a:srgbClr val="000000"/>
                          </a:solidFill>
                          <a:effectLst/>
                          <a:latin typeface="+mn-ea"/>
                          <a:ea typeface="+mn-ea"/>
                        </a:rPr>
                        <a:t>管理情報</a:t>
                      </a:r>
                    </a:p>
                  </a:txBody>
                  <a:tcPr marL="8386" marR="8386" marT="8386"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ja-JP" altLang="en-US" sz="1050" b="1" i="0" u="none" strike="noStrike">
                          <a:solidFill>
                            <a:srgbClr val="000000"/>
                          </a:solidFill>
                          <a:effectLst/>
                          <a:latin typeface="+mn-ea"/>
                          <a:ea typeface="+mn-ea"/>
                        </a:rPr>
                        <a:t>参照元</a:t>
                      </a:r>
                      <a:r>
                        <a:rPr lang="en-US" sz="1050" b="1" i="0" u="none" strike="noStrike">
                          <a:solidFill>
                            <a:srgbClr val="000000"/>
                          </a:solidFill>
                          <a:effectLst/>
                          <a:latin typeface="+mn-ea"/>
                          <a:ea typeface="+mn-ea"/>
                        </a:rPr>
                        <a:t>DB</a:t>
                      </a:r>
                      <a:r>
                        <a:rPr lang="ja-JP" altLang="en-US" sz="1050" b="1" i="0" u="none" strike="noStrike">
                          <a:solidFill>
                            <a:srgbClr val="000000"/>
                          </a:solidFill>
                          <a:effectLst/>
                          <a:latin typeface="+mn-ea"/>
                          <a:ea typeface="+mn-ea"/>
                        </a:rPr>
                        <a:t>種類</a:t>
                      </a:r>
                    </a:p>
                  </a:txBody>
                  <a:tcPr marL="8386" marR="8386" marT="8386" marB="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127507193"/>
                  </a:ext>
                </a:extLst>
              </a:tr>
              <a:tr h="216436">
                <a:tc>
                  <a:txBody>
                    <a:bodyPr/>
                    <a:lstStyle/>
                    <a:p>
                      <a:pPr algn="r" fontAlgn="b"/>
                      <a:r>
                        <a:rPr lang="en-US" altLang="ja-JP" sz="1050" b="0" i="0" u="none" strike="noStrike">
                          <a:solidFill>
                            <a:srgbClr val="000000"/>
                          </a:solidFill>
                          <a:effectLst/>
                          <a:latin typeface="+mn-ea"/>
                          <a:ea typeface="+mn-ea"/>
                        </a:rPr>
                        <a:t>1</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事業所窓口</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事業所の窓口情報</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zh-TW" altLang="en-US" sz="1050" b="0" i="0" u="none" strike="noStrike">
                          <a:solidFill>
                            <a:srgbClr val="000000"/>
                          </a:solidFill>
                          <a:effectLst/>
                          <a:latin typeface="+mn-ea"/>
                          <a:ea typeface="+mn-ea"/>
                        </a:rPr>
                        <a:t>製品仕様書管理</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163807935"/>
                  </a:ext>
                </a:extLst>
              </a:tr>
              <a:tr h="216436">
                <a:tc>
                  <a:txBody>
                    <a:bodyPr/>
                    <a:lstStyle/>
                    <a:p>
                      <a:pPr algn="r" fontAlgn="b"/>
                      <a:r>
                        <a:rPr lang="en-US" altLang="ja-JP" sz="1050" b="0" i="0" u="none" strike="noStrike">
                          <a:solidFill>
                            <a:srgbClr val="000000"/>
                          </a:solidFill>
                          <a:effectLst/>
                          <a:latin typeface="+mn-ea"/>
                          <a:ea typeface="+mn-ea"/>
                        </a:rPr>
                        <a:t>2</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事業所ルート</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事業所のルート設定情報</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zh-TW" altLang="en-US" sz="1050" b="0" i="0" u="none" strike="noStrike">
                          <a:solidFill>
                            <a:srgbClr val="000000"/>
                          </a:solidFill>
                          <a:effectLst/>
                          <a:latin typeface="+mn-ea"/>
                          <a:ea typeface="+mn-ea"/>
                        </a:rPr>
                        <a:t>製品仕様書管理</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411903078"/>
                  </a:ext>
                </a:extLst>
              </a:tr>
              <a:tr h="216436">
                <a:tc>
                  <a:txBody>
                    <a:bodyPr/>
                    <a:lstStyle/>
                    <a:p>
                      <a:pPr algn="r" fontAlgn="b"/>
                      <a:r>
                        <a:rPr lang="en-US" altLang="ja-JP" sz="1050" b="0" i="0" u="none" strike="noStrike">
                          <a:solidFill>
                            <a:srgbClr val="000000"/>
                          </a:solidFill>
                          <a:effectLst/>
                          <a:latin typeface="+mn-ea"/>
                          <a:ea typeface="+mn-ea"/>
                        </a:rPr>
                        <a:t>3</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承認窓口</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承認窓口の情報</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zh-TW" altLang="en-US" sz="1050" b="0" i="0" u="none" strike="noStrike">
                          <a:solidFill>
                            <a:srgbClr val="000000"/>
                          </a:solidFill>
                          <a:effectLst/>
                          <a:latin typeface="+mn-ea"/>
                          <a:ea typeface="+mn-ea"/>
                        </a:rPr>
                        <a:t>製品仕様書管理</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767797758"/>
                  </a:ext>
                </a:extLst>
              </a:tr>
              <a:tr h="216436">
                <a:tc>
                  <a:txBody>
                    <a:bodyPr/>
                    <a:lstStyle/>
                    <a:p>
                      <a:pPr algn="r" fontAlgn="b"/>
                      <a:r>
                        <a:rPr lang="en-US" altLang="ja-JP" sz="1050" b="0" i="0" u="none" strike="noStrike">
                          <a:solidFill>
                            <a:srgbClr val="000000"/>
                          </a:solidFill>
                          <a:effectLst/>
                          <a:latin typeface="+mn-ea"/>
                          <a:ea typeface="+mn-ea"/>
                        </a:rPr>
                        <a:t>4</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en-US" sz="1050" b="0" i="0" u="none" strike="noStrike">
                          <a:solidFill>
                            <a:srgbClr val="000000"/>
                          </a:solidFill>
                          <a:effectLst/>
                          <a:latin typeface="+mn-ea"/>
                          <a:ea typeface="+mn-ea"/>
                        </a:rPr>
                        <a:t>DB</a:t>
                      </a:r>
                      <a:r>
                        <a:rPr lang="ja-JP" altLang="en-US" sz="1050" b="0" i="0" u="none" strike="noStrike">
                          <a:solidFill>
                            <a:srgbClr val="000000"/>
                          </a:solidFill>
                          <a:effectLst/>
                          <a:latin typeface="+mn-ea"/>
                          <a:ea typeface="+mn-ea"/>
                        </a:rPr>
                        <a:t>情報</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en-US" altLang="ja-JP" sz="1050" b="0" i="0" u="none" strike="noStrike">
                          <a:solidFill>
                            <a:srgbClr val="000000"/>
                          </a:solidFill>
                          <a:effectLst/>
                          <a:latin typeface="+mn-ea"/>
                          <a:ea typeface="+mn-ea"/>
                        </a:rPr>
                        <a:t>DB</a:t>
                      </a:r>
                      <a:r>
                        <a:rPr lang="ja-JP" altLang="en-US" sz="1050" b="0" i="0" u="none" strike="noStrike">
                          <a:solidFill>
                            <a:srgbClr val="000000"/>
                          </a:solidFill>
                          <a:effectLst/>
                          <a:latin typeface="+mn-ea"/>
                          <a:ea typeface="+mn-ea"/>
                        </a:rPr>
                        <a:t>のシステム情報</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zh-TW" altLang="en-US" sz="1050" b="0" i="0" u="none" strike="noStrike">
                          <a:solidFill>
                            <a:srgbClr val="000000"/>
                          </a:solidFill>
                          <a:effectLst/>
                          <a:latin typeface="+mn-ea"/>
                          <a:ea typeface="+mn-ea"/>
                        </a:rPr>
                        <a:t>製品仕様書管理</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877712086"/>
                  </a:ext>
                </a:extLst>
              </a:tr>
              <a:tr h="216436">
                <a:tc>
                  <a:txBody>
                    <a:bodyPr/>
                    <a:lstStyle/>
                    <a:p>
                      <a:pPr algn="r" fontAlgn="b"/>
                      <a:r>
                        <a:rPr lang="en-US" altLang="ja-JP" sz="1050" b="0" i="0" u="none" strike="noStrike">
                          <a:solidFill>
                            <a:srgbClr val="000000"/>
                          </a:solidFill>
                          <a:effectLst/>
                          <a:latin typeface="+mn-ea"/>
                          <a:ea typeface="+mn-ea"/>
                        </a:rPr>
                        <a:t>5</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事業部</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事業部と関連する事業所の情報</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zh-TW" altLang="en-US" sz="1050" b="0" i="0" u="none" strike="noStrike">
                          <a:solidFill>
                            <a:srgbClr val="000000"/>
                          </a:solidFill>
                          <a:effectLst/>
                          <a:latin typeface="+mn-ea"/>
                          <a:ea typeface="+mn-ea"/>
                        </a:rPr>
                        <a:t>製品仕様書管理</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714412596"/>
                  </a:ext>
                </a:extLst>
              </a:tr>
              <a:tr h="216436">
                <a:tc>
                  <a:txBody>
                    <a:bodyPr/>
                    <a:lstStyle/>
                    <a:p>
                      <a:pPr algn="r" fontAlgn="b"/>
                      <a:r>
                        <a:rPr lang="en-US" altLang="ja-JP" sz="1050" b="0" i="0" u="none" strike="noStrike">
                          <a:solidFill>
                            <a:srgbClr val="000000"/>
                          </a:solidFill>
                          <a:effectLst/>
                          <a:latin typeface="+mn-ea"/>
                          <a:ea typeface="+mn-ea"/>
                        </a:rPr>
                        <a:t>6</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環境</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連携する</a:t>
                      </a:r>
                      <a:r>
                        <a:rPr lang="en-US" altLang="ja-JP" sz="1050" b="0" i="0" u="none" strike="noStrike">
                          <a:solidFill>
                            <a:srgbClr val="000000"/>
                          </a:solidFill>
                          <a:effectLst/>
                          <a:latin typeface="+mn-ea"/>
                          <a:ea typeface="+mn-ea"/>
                        </a:rPr>
                        <a:t>DB</a:t>
                      </a:r>
                      <a:r>
                        <a:rPr lang="ja-JP" altLang="en-US" sz="1050" b="0" i="0" u="none" strike="noStrike">
                          <a:solidFill>
                            <a:srgbClr val="000000"/>
                          </a:solidFill>
                          <a:effectLst/>
                          <a:latin typeface="+mn-ea"/>
                          <a:ea typeface="+mn-ea"/>
                        </a:rPr>
                        <a:t>のサーバーとファイル名の情報</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zh-TW" altLang="en-US" sz="1050" b="0" i="0" u="none" strike="noStrike">
                          <a:solidFill>
                            <a:srgbClr val="000000"/>
                          </a:solidFill>
                          <a:effectLst/>
                          <a:latin typeface="+mn-ea"/>
                          <a:ea typeface="+mn-ea"/>
                        </a:rPr>
                        <a:t>製品仕様書管理</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500503842"/>
                  </a:ext>
                </a:extLst>
              </a:tr>
              <a:tr h="216436">
                <a:tc>
                  <a:txBody>
                    <a:bodyPr/>
                    <a:lstStyle/>
                    <a:p>
                      <a:pPr algn="r" fontAlgn="b"/>
                      <a:r>
                        <a:rPr lang="en-US" altLang="ja-JP" sz="1050" b="0" i="0" u="none" strike="noStrike">
                          <a:solidFill>
                            <a:srgbClr val="000000"/>
                          </a:solidFill>
                          <a:effectLst/>
                          <a:latin typeface="+mn-ea"/>
                          <a:ea typeface="+mn-ea"/>
                        </a:rPr>
                        <a:t>7</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文書種類</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納入仕様書」「製品規格書」の</a:t>
                      </a:r>
                      <a:r>
                        <a:rPr lang="en-US" altLang="ja-JP" sz="1050" b="0" i="0" u="none" strike="noStrike">
                          <a:solidFill>
                            <a:srgbClr val="000000"/>
                          </a:solidFill>
                          <a:effectLst/>
                          <a:latin typeface="+mn-ea"/>
                          <a:ea typeface="+mn-ea"/>
                        </a:rPr>
                        <a:t>Form</a:t>
                      </a:r>
                      <a:r>
                        <a:rPr lang="ja-JP" altLang="en-US" sz="1050" b="0" i="0" u="none" strike="noStrike">
                          <a:solidFill>
                            <a:srgbClr val="000000"/>
                          </a:solidFill>
                          <a:effectLst/>
                          <a:latin typeface="+mn-ea"/>
                          <a:ea typeface="+mn-ea"/>
                        </a:rPr>
                        <a:t>を用いて作成する文書種類、文書設定の情報</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zh-TW" altLang="en-US" sz="1050" b="0" i="0" u="none" strike="noStrike">
                          <a:solidFill>
                            <a:srgbClr val="000000"/>
                          </a:solidFill>
                          <a:effectLst/>
                          <a:latin typeface="+mn-ea"/>
                          <a:ea typeface="+mn-ea"/>
                        </a:rPr>
                        <a:t>製品仕様書管理</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4241014686"/>
                  </a:ext>
                </a:extLst>
              </a:tr>
              <a:tr h="216436">
                <a:tc>
                  <a:txBody>
                    <a:bodyPr/>
                    <a:lstStyle/>
                    <a:p>
                      <a:pPr algn="r" fontAlgn="b"/>
                      <a:r>
                        <a:rPr lang="en-US" altLang="ja-JP" sz="1050" b="0" i="0" u="none" strike="noStrike">
                          <a:solidFill>
                            <a:srgbClr val="000000"/>
                          </a:solidFill>
                          <a:effectLst/>
                          <a:latin typeface="+mn-ea"/>
                          <a:ea typeface="+mn-ea"/>
                        </a:rPr>
                        <a:t>8</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システム管理者</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システム管理者情報</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zh-TW" altLang="en-US" sz="1050" b="0" i="0" u="none" strike="noStrike">
                          <a:solidFill>
                            <a:srgbClr val="000000"/>
                          </a:solidFill>
                          <a:effectLst/>
                          <a:latin typeface="+mn-ea"/>
                          <a:ea typeface="+mn-ea"/>
                        </a:rPr>
                        <a:t>製品仕様書管理</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683231876"/>
                  </a:ext>
                </a:extLst>
              </a:tr>
              <a:tr h="216436">
                <a:tc>
                  <a:txBody>
                    <a:bodyPr/>
                    <a:lstStyle/>
                    <a:p>
                      <a:pPr algn="r" fontAlgn="b"/>
                      <a:r>
                        <a:rPr lang="en-US" altLang="ja-JP" sz="1050" b="0" i="0" u="none" strike="noStrike">
                          <a:solidFill>
                            <a:srgbClr val="000000"/>
                          </a:solidFill>
                          <a:effectLst/>
                          <a:latin typeface="+mn-ea"/>
                          <a:ea typeface="+mn-ea"/>
                        </a:rPr>
                        <a:t>9</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場所</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連携</a:t>
                      </a:r>
                      <a:r>
                        <a:rPr lang="en-US" altLang="ja-JP" sz="1050" b="0" i="0" u="none" strike="noStrike">
                          <a:solidFill>
                            <a:srgbClr val="000000"/>
                          </a:solidFill>
                          <a:effectLst/>
                          <a:latin typeface="+mn-ea"/>
                          <a:ea typeface="+mn-ea"/>
                        </a:rPr>
                        <a:t>DB</a:t>
                      </a:r>
                      <a:r>
                        <a:rPr lang="ja-JP" altLang="en-US" sz="1050" b="0" i="0" u="none" strike="noStrike">
                          <a:solidFill>
                            <a:srgbClr val="000000"/>
                          </a:solidFill>
                          <a:effectLst/>
                          <a:latin typeface="+mn-ea"/>
                          <a:ea typeface="+mn-ea"/>
                        </a:rPr>
                        <a:t>や承認フロー利用有無の情報</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関連文書</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605636171"/>
                  </a:ext>
                </a:extLst>
              </a:tr>
              <a:tr h="216436">
                <a:tc>
                  <a:txBody>
                    <a:bodyPr/>
                    <a:lstStyle/>
                    <a:p>
                      <a:pPr algn="r" fontAlgn="b"/>
                      <a:r>
                        <a:rPr lang="en-US" altLang="ja-JP" sz="1050" b="0" i="0" u="none" strike="noStrike">
                          <a:solidFill>
                            <a:srgbClr val="000000"/>
                          </a:solidFill>
                          <a:effectLst/>
                          <a:latin typeface="+mn-ea"/>
                          <a:ea typeface="+mn-ea"/>
                        </a:rPr>
                        <a:t>10</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システム定義</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品質情報マスタが持つ項目の設定情報</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品質情報</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407841245"/>
                  </a:ext>
                </a:extLst>
              </a:tr>
              <a:tr h="216436">
                <a:tc>
                  <a:txBody>
                    <a:bodyPr/>
                    <a:lstStyle/>
                    <a:p>
                      <a:pPr algn="r" fontAlgn="b"/>
                      <a:r>
                        <a:rPr lang="en-US" altLang="ja-JP" sz="1050" b="0" i="0" u="none" strike="noStrike">
                          <a:solidFill>
                            <a:srgbClr val="000000"/>
                          </a:solidFill>
                          <a:effectLst/>
                          <a:latin typeface="+mn-ea"/>
                          <a:ea typeface="+mn-ea"/>
                        </a:rPr>
                        <a:t>11</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組管未登録会社</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会社名や会社コードの情報</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品質情報</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424368707"/>
                  </a:ext>
                </a:extLst>
              </a:tr>
              <a:tr h="216436">
                <a:tc>
                  <a:txBody>
                    <a:bodyPr/>
                    <a:lstStyle/>
                    <a:p>
                      <a:pPr algn="r" fontAlgn="b"/>
                      <a:r>
                        <a:rPr lang="en-US" altLang="ja-JP" sz="1050" b="0" i="0" u="none" strike="noStrike">
                          <a:solidFill>
                            <a:srgbClr val="000000"/>
                          </a:solidFill>
                          <a:effectLst/>
                          <a:latin typeface="+mn-ea"/>
                          <a:ea typeface="+mn-ea"/>
                        </a:rPr>
                        <a:t>12</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品質情報</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品名、略号、グレード１、グレード２の品質情報</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mn-ea"/>
                          <a:ea typeface="+mn-ea"/>
                        </a:rPr>
                        <a:t>品質情報</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653172240"/>
                  </a:ext>
                </a:extLst>
              </a:tr>
              <a:tr h="216436">
                <a:tc>
                  <a:txBody>
                    <a:bodyPr/>
                    <a:lstStyle/>
                    <a:p>
                      <a:pPr algn="r" fontAlgn="b"/>
                      <a:r>
                        <a:rPr lang="en-US" altLang="ja-JP" sz="1050" b="0" i="0" u="none" strike="noStrike">
                          <a:solidFill>
                            <a:srgbClr val="000000"/>
                          </a:solidFill>
                          <a:effectLst/>
                          <a:latin typeface="+mn-ea"/>
                          <a:ea typeface="+mn-ea"/>
                        </a:rPr>
                        <a:t>13</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顧客情報</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仕様締結先、実ユーザー、納入先、商社などの顧客名の情報</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ー</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26867086"/>
                  </a:ext>
                </a:extLst>
              </a:tr>
            </a:tbl>
          </a:graphicData>
        </a:graphic>
      </p:graphicFrame>
      <p:sp>
        <p:nvSpPr>
          <p:cNvPr id="2" name="テキスト プレースホルダー 4">
            <a:extLst>
              <a:ext uri="{FF2B5EF4-FFF2-40B4-BE49-F238E27FC236}">
                <a16:creationId xmlns:a16="http://schemas.microsoft.com/office/drawing/2014/main" id="{8C7248DA-8503-9EF0-B175-7D9E97972DDA}"/>
              </a:ext>
            </a:extLst>
          </p:cNvPr>
          <p:cNvSpPr txBox="1">
            <a:spLocks/>
          </p:cNvSpPr>
          <p:nvPr/>
        </p:nvSpPr>
        <p:spPr>
          <a:xfrm>
            <a:off x="251524" y="1052963"/>
            <a:ext cx="8640950" cy="36512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5)</a:t>
            </a:r>
            <a:r>
              <a:rPr kumimoji="1" lang="ja-JP" altLang="en-US" sz="1800"/>
              <a:t>データベース一覧</a:t>
            </a:r>
            <a:endParaRPr kumimoji="1" lang="en-US" altLang="zh-TW"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5" name="コンテンツ プレースホルダー 6">
            <a:extLst>
              <a:ext uri="{FF2B5EF4-FFF2-40B4-BE49-F238E27FC236}">
                <a16:creationId xmlns:a16="http://schemas.microsoft.com/office/drawing/2014/main" id="{CA9AD951-AB0A-F544-7224-4DC94CDD3179}"/>
              </a:ext>
            </a:extLst>
          </p:cNvPr>
          <p:cNvSpPr txBox="1">
            <a:spLocks/>
          </p:cNvSpPr>
          <p:nvPr/>
        </p:nvSpPr>
        <p:spPr>
          <a:xfrm>
            <a:off x="251519" y="1576185"/>
            <a:ext cx="8603312" cy="614566"/>
          </a:xfrm>
          <a:prstGeom prst="rect">
            <a:avLst/>
          </a:prstGeom>
        </p:spPr>
        <p:txBody>
          <a:bodyPr vert="horz" lIns="0" tIns="0" rIns="0" bIns="0" rtlCol="0">
            <a:normAutofit/>
          </a:bodyPr>
          <a:lstStyle>
            <a:lvl1pPr marL="285750" indent="-285750" algn="l" defTabSz="914400" rtl="0" eaLnBrk="1" latinLnBrk="0" hangingPunct="1">
              <a:lnSpc>
                <a:spcPct val="150000"/>
              </a:lnSpc>
              <a:spcBef>
                <a:spcPts val="1000"/>
              </a:spcBef>
              <a:buFont typeface="Arial" panose="020B0604020202020204" pitchFamily="34" charset="0"/>
              <a:buChar char="•"/>
              <a:defRPr kumimoji="1" sz="1600" kern="1200" baseline="0">
                <a:solidFill>
                  <a:schemeClr val="tx1"/>
                </a:solidFill>
                <a:latin typeface="+mn-lt"/>
                <a:ea typeface="+mn-ea"/>
                <a:cs typeface="+mn-cs"/>
              </a:defRPr>
            </a:lvl1pPr>
            <a:lvl2pPr marL="64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100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3pPr>
            <a:lvl4pPr marL="136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4pPr>
            <a:lvl5pPr marL="172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ja-JP" altLang="en-US" sz="1400">
                <a:solidFill>
                  <a:srgbClr val="000000"/>
                </a:solidFill>
                <a:latin typeface="+mn-ea"/>
              </a:rPr>
              <a:t>マスタデータは以下の内容とする</a:t>
            </a:r>
            <a:endParaRPr lang="en-US" altLang="ja-JP" sz="1400">
              <a:solidFill>
                <a:srgbClr val="000000"/>
              </a:solidFill>
              <a:latin typeface="+mn-ea"/>
            </a:endParaRPr>
          </a:p>
        </p:txBody>
      </p:sp>
    </p:spTree>
    <p:extLst>
      <p:ext uri="{BB962C8B-B14F-4D97-AF65-F5344CB8AC3E}">
        <p14:creationId xmlns:p14="http://schemas.microsoft.com/office/powerpoint/2010/main" val="110974281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84D1DA-97ED-2719-33EF-A13650BDF7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2A84D1DA-97ED-2719-33EF-A13650BDF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C0CD4ED1-0F74-83B6-F4AC-8C87103B97BF}"/>
              </a:ext>
            </a:extLst>
          </p:cNvPr>
          <p:cNvSpPr>
            <a:spLocks noGrp="1"/>
          </p:cNvSpPr>
          <p:nvPr>
            <p:ph type="title"/>
          </p:nvPr>
        </p:nvSpPr>
        <p:spPr/>
        <p:txBody>
          <a:bodyPr vert="horz"/>
          <a:lstStyle/>
          <a:p>
            <a:r>
              <a:rPr lang="ja-JP" altLang="en-US"/>
              <a:t>２．機能要件</a:t>
            </a:r>
            <a:endParaRPr kumimoji="1" lang="ja-JP" altLang="en-US"/>
          </a:p>
        </p:txBody>
      </p:sp>
      <p:sp>
        <p:nvSpPr>
          <p:cNvPr id="2" name="テキスト プレースホルダー 4">
            <a:extLst>
              <a:ext uri="{FF2B5EF4-FFF2-40B4-BE49-F238E27FC236}">
                <a16:creationId xmlns:a16="http://schemas.microsoft.com/office/drawing/2014/main" id="{8C7248DA-8503-9EF0-B175-7D9E97972DDA}"/>
              </a:ext>
            </a:extLst>
          </p:cNvPr>
          <p:cNvSpPr txBox="1">
            <a:spLocks/>
          </p:cNvSpPr>
          <p:nvPr/>
        </p:nvSpPr>
        <p:spPr>
          <a:xfrm>
            <a:off x="251524" y="1052963"/>
            <a:ext cx="8640950" cy="36512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5)</a:t>
            </a:r>
            <a:r>
              <a:rPr kumimoji="1" lang="ja-JP" altLang="en-US" sz="1800"/>
              <a:t>データベース一覧</a:t>
            </a:r>
            <a:endParaRPr kumimoji="1" lang="en-US" altLang="zh-TW"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5" name="コンテンツ プレースホルダー 6">
            <a:extLst>
              <a:ext uri="{FF2B5EF4-FFF2-40B4-BE49-F238E27FC236}">
                <a16:creationId xmlns:a16="http://schemas.microsoft.com/office/drawing/2014/main" id="{CA9AD951-AB0A-F544-7224-4DC94CDD3179}"/>
              </a:ext>
            </a:extLst>
          </p:cNvPr>
          <p:cNvSpPr txBox="1">
            <a:spLocks/>
          </p:cNvSpPr>
          <p:nvPr/>
        </p:nvSpPr>
        <p:spPr>
          <a:xfrm>
            <a:off x="251519" y="1576184"/>
            <a:ext cx="8603312" cy="1243587"/>
          </a:xfrm>
          <a:prstGeom prst="rect">
            <a:avLst/>
          </a:prstGeom>
        </p:spPr>
        <p:txBody>
          <a:bodyPr vert="horz" lIns="0" tIns="0" rIns="0" bIns="0" rtlCol="0">
            <a:normAutofit/>
          </a:bodyPr>
          <a:lstStyle>
            <a:lvl1pPr marL="285750" indent="-285750" algn="l" defTabSz="914400" rtl="0" eaLnBrk="1" latinLnBrk="0" hangingPunct="1">
              <a:lnSpc>
                <a:spcPct val="150000"/>
              </a:lnSpc>
              <a:spcBef>
                <a:spcPts val="1000"/>
              </a:spcBef>
              <a:buFont typeface="Arial" panose="020B0604020202020204" pitchFamily="34" charset="0"/>
              <a:buChar char="•"/>
              <a:defRPr kumimoji="1" sz="1600" kern="1200" baseline="0">
                <a:solidFill>
                  <a:schemeClr val="tx1"/>
                </a:solidFill>
                <a:latin typeface="+mn-lt"/>
                <a:ea typeface="+mn-ea"/>
                <a:cs typeface="+mn-cs"/>
              </a:defRPr>
            </a:lvl1pPr>
            <a:lvl2pPr marL="64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100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3pPr>
            <a:lvl4pPr marL="136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4pPr>
            <a:lvl5pPr marL="172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ja-JP" altLang="en-US" sz="1400">
                <a:solidFill>
                  <a:srgbClr val="000000"/>
                </a:solidFill>
                <a:latin typeface="+mn-ea"/>
              </a:rPr>
              <a:t>トランザクションデータは「</a:t>
            </a:r>
            <a:r>
              <a:rPr lang="ja-JP" altLang="en-US" sz="1400">
                <a:hlinkClick r:id="rId5"/>
              </a:rPr>
              <a:t>製品仕様書管理</a:t>
            </a:r>
            <a:r>
              <a:rPr lang="en-US" altLang="ja-JP" sz="1400">
                <a:hlinkClick r:id="rId5"/>
              </a:rPr>
              <a:t>_</a:t>
            </a:r>
            <a:r>
              <a:rPr lang="ja-JP" altLang="en-US" sz="1400">
                <a:hlinkClick r:id="rId5"/>
              </a:rPr>
              <a:t>トランザクションデータ一覧</a:t>
            </a:r>
            <a:r>
              <a:rPr lang="en-US" altLang="ja-JP" sz="1400">
                <a:hlinkClick r:id="rId5"/>
              </a:rPr>
              <a:t>.xlsx </a:t>
            </a:r>
            <a:r>
              <a:rPr lang="ja-JP" altLang="en-US" sz="1400">
                <a:solidFill>
                  <a:srgbClr val="000000"/>
                </a:solidFill>
                <a:latin typeface="+mn-ea"/>
              </a:rPr>
              <a:t>」とする</a:t>
            </a:r>
            <a:endParaRPr lang="en-US" altLang="ja-JP" sz="1400">
              <a:solidFill>
                <a:srgbClr val="000000"/>
              </a:solidFill>
              <a:latin typeface="+mn-ea"/>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US" altLang="ja-JP" sz="1400">
              <a:solidFill>
                <a:srgbClr val="000000"/>
              </a:solidFill>
              <a:latin typeface="+mn-ea"/>
            </a:endParaRPr>
          </a:p>
        </p:txBody>
      </p:sp>
    </p:spTree>
    <p:extLst>
      <p:ext uri="{BB962C8B-B14F-4D97-AF65-F5344CB8AC3E}">
        <p14:creationId xmlns:p14="http://schemas.microsoft.com/office/powerpoint/2010/main" val="14843469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84D1DA-97ED-2719-33EF-A13650BDF72A}"/>
              </a:ext>
            </a:extLst>
          </p:cNvPr>
          <p:cNvGraphicFramePr>
            <a:graphicFrameLocks noChangeAspect="1"/>
          </p:cNvGraphicFramePr>
          <p:nvPr>
            <p:custDataLst>
              <p:tags r:id="rId1"/>
            </p:custDataLst>
            <p:extLst>
              <p:ext uri="{D42A27DB-BD31-4B8C-83A1-F6EECF244321}">
                <p14:modId xmlns:p14="http://schemas.microsoft.com/office/powerpoint/2010/main" val="1735050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2A84D1DA-97ED-2719-33EF-A13650BDF7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C0CD4ED1-0F74-83B6-F4AC-8C87103B97BF}"/>
              </a:ext>
            </a:extLst>
          </p:cNvPr>
          <p:cNvSpPr>
            <a:spLocks noGrp="1"/>
          </p:cNvSpPr>
          <p:nvPr>
            <p:ph type="title"/>
          </p:nvPr>
        </p:nvSpPr>
        <p:spPr/>
        <p:txBody>
          <a:bodyPr vert="horz"/>
          <a:lstStyle/>
          <a:p>
            <a:r>
              <a:rPr lang="ja-JP" altLang="en-US"/>
              <a:t>２．機能要件</a:t>
            </a:r>
            <a:endParaRPr kumimoji="1" lang="ja-JP" altLang="en-US"/>
          </a:p>
        </p:txBody>
      </p:sp>
      <p:sp>
        <p:nvSpPr>
          <p:cNvPr id="5" name="テキスト プレースホルダー 4">
            <a:extLst>
              <a:ext uri="{FF2B5EF4-FFF2-40B4-BE49-F238E27FC236}">
                <a16:creationId xmlns:a16="http://schemas.microsoft.com/office/drawing/2014/main" id="{9DA1D7C2-1422-0A3D-BBD7-85EBAC4A60E4}"/>
              </a:ext>
            </a:extLst>
          </p:cNvPr>
          <p:cNvSpPr txBox="1">
            <a:spLocks/>
          </p:cNvSpPr>
          <p:nvPr/>
        </p:nvSpPr>
        <p:spPr>
          <a:xfrm>
            <a:off x="251524" y="1052963"/>
            <a:ext cx="8640950" cy="36512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6)</a:t>
            </a:r>
            <a:r>
              <a:rPr lang="ja-JP" altLang="en-US" sz="1800"/>
              <a:t>外部システム連携一覧</a:t>
            </a:r>
            <a:endParaRPr kumimoji="1" lang="en-US" altLang="zh-TW" sz="16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8" name="コンテンツ プレースホルダー 6">
            <a:extLst>
              <a:ext uri="{FF2B5EF4-FFF2-40B4-BE49-F238E27FC236}">
                <a16:creationId xmlns:a16="http://schemas.microsoft.com/office/drawing/2014/main" id="{D3E3391C-8A39-0D2B-11F0-3C16A26FF096}"/>
              </a:ext>
            </a:extLst>
          </p:cNvPr>
          <p:cNvSpPr txBox="1">
            <a:spLocks/>
          </p:cNvSpPr>
          <p:nvPr/>
        </p:nvSpPr>
        <p:spPr>
          <a:xfrm>
            <a:off x="251519" y="1576184"/>
            <a:ext cx="8603312" cy="1243587"/>
          </a:xfrm>
          <a:prstGeom prst="rect">
            <a:avLst/>
          </a:prstGeom>
        </p:spPr>
        <p:txBody>
          <a:bodyPr vert="horz" lIns="0" tIns="0" rIns="0" bIns="0" rtlCol="0">
            <a:normAutofit/>
          </a:bodyPr>
          <a:lstStyle>
            <a:lvl1pPr marL="285750" indent="-285750" algn="l" defTabSz="914400" rtl="0" eaLnBrk="1" latinLnBrk="0" hangingPunct="1">
              <a:lnSpc>
                <a:spcPct val="150000"/>
              </a:lnSpc>
              <a:spcBef>
                <a:spcPts val="1000"/>
              </a:spcBef>
              <a:buFont typeface="Arial" panose="020B0604020202020204" pitchFamily="34" charset="0"/>
              <a:buChar char="•"/>
              <a:defRPr kumimoji="1" sz="1600" kern="1200" baseline="0">
                <a:solidFill>
                  <a:schemeClr val="tx1"/>
                </a:solidFill>
                <a:latin typeface="+mn-lt"/>
                <a:ea typeface="+mn-ea"/>
                <a:cs typeface="+mn-cs"/>
              </a:defRPr>
            </a:lvl1pPr>
            <a:lvl2pPr marL="64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100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3pPr>
            <a:lvl4pPr marL="136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4pPr>
            <a:lvl5pPr marL="172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ja-JP" altLang="en-US" sz="1400">
                <a:solidFill>
                  <a:srgbClr val="000000"/>
                </a:solidFill>
                <a:latin typeface="+mn-ea"/>
              </a:rPr>
              <a:t>外部システム連携先は以下とする</a:t>
            </a:r>
            <a:endParaRPr lang="en-US" altLang="ja-JP" sz="1400">
              <a:solidFill>
                <a:srgbClr val="000000"/>
              </a:solidFill>
              <a:latin typeface="+mn-ea"/>
            </a:endParaRPr>
          </a:p>
        </p:txBody>
      </p:sp>
      <p:graphicFrame>
        <p:nvGraphicFramePr>
          <p:cNvPr id="10" name="表 9">
            <a:extLst>
              <a:ext uri="{FF2B5EF4-FFF2-40B4-BE49-F238E27FC236}">
                <a16:creationId xmlns:a16="http://schemas.microsoft.com/office/drawing/2014/main" id="{C1671E97-7968-28B6-9B25-F786BB7D5496}"/>
              </a:ext>
            </a:extLst>
          </p:cNvPr>
          <p:cNvGraphicFramePr>
            <a:graphicFrameLocks noGrp="1"/>
          </p:cNvGraphicFramePr>
          <p:nvPr>
            <p:extLst>
              <p:ext uri="{D42A27DB-BD31-4B8C-83A1-F6EECF244321}">
                <p14:modId xmlns:p14="http://schemas.microsoft.com/office/powerpoint/2010/main" val="1614093190"/>
              </p:ext>
            </p:extLst>
          </p:nvPr>
        </p:nvGraphicFramePr>
        <p:xfrm>
          <a:off x="457199" y="2151098"/>
          <a:ext cx="7666367" cy="1565934"/>
        </p:xfrm>
        <a:graphic>
          <a:graphicData uri="http://schemas.openxmlformats.org/drawingml/2006/table">
            <a:tbl>
              <a:tblPr/>
              <a:tblGrid>
                <a:gridCol w="252000">
                  <a:extLst>
                    <a:ext uri="{9D8B030D-6E8A-4147-A177-3AD203B41FA5}">
                      <a16:colId xmlns:a16="http://schemas.microsoft.com/office/drawing/2014/main" val="795346042"/>
                    </a:ext>
                  </a:extLst>
                </a:gridCol>
                <a:gridCol w="1192405">
                  <a:extLst>
                    <a:ext uri="{9D8B030D-6E8A-4147-A177-3AD203B41FA5}">
                      <a16:colId xmlns:a16="http://schemas.microsoft.com/office/drawing/2014/main" val="782125322"/>
                    </a:ext>
                  </a:extLst>
                </a:gridCol>
                <a:gridCol w="3049184">
                  <a:extLst>
                    <a:ext uri="{9D8B030D-6E8A-4147-A177-3AD203B41FA5}">
                      <a16:colId xmlns:a16="http://schemas.microsoft.com/office/drawing/2014/main" val="3905746928"/>
                    </a:ext>
                  </a:extLst>
                </a:gridCol>
                <a:gridCol w="1586389">
                  <a:extLst>
                    <a:ext uri="{9D8B030D-6E8A-4147-A177-3AD203B41FA5}">
                      <a16:colId xmlns:a16="http://schemas.microsoft.com/office/drawing/2014/main" val="1106066"/>
                    </a:ext>
                  </a:extLst>
                </a:gridCol>
                <a:gridCol w="1586389">
                  <a:extLst>
                    <a:ext uri="{9D8B030D-6E8A-4147-A177-3AD203B41FA5}">
                      <a16:colId xmlns:a16="http://schemas.microsoft.com/office/drawing/2014/main" val="2374922798"/>
                    </a:ext>
                  </a:extLst>
                </a:gridCol>
              </a:tblGrid>
              <a:tr h="290328">
                <a:tc gridSpan="2">
                  <a:txBody>
                    <a:bodyPr/>
                    <a:lstStyle/>
                    <a:p>
                      <a:pPr algn="l" fontAlgn="b"/>
                      <a:endParaRPr lang="ja-JP" altLang="en-US" sz="1050" b="1" i="0" u="none" strike="noStrike">
                        <a:solidFill>
                          <a:srgbClr val="000000"/>
                        </a:solidFill>
                        <a:effectLst/>
                        <a:latin typeface="+mj-lt"/>
                        <a:ea typeface="Meiryo UI" panose="020B0604030504040204" pitchFamily="50" charset="-128"/>
                      </a:endParaRPr>
                    </a:p>
                  </a:txBody>
                  <a:tcPr marL="8386" marR="8386" marT="8386" marB="0" anchor="b">
                    <a:lnL>
                      <a:noFill/>
                    </a:lnL>
                    <a:lnR>
                      <a:noFill/>
                    </a:lnR>
                    <a:lnT>
                      <a:noFill/>
                    </a:lnT>
                    <a:lnB w="6350" cap="flat" cmpd="sng" algn="ctr">
                      <a:solidFill>
                        <a:schemeClr val="bg1">
                          <a:lumMod val="65000"/>
                        </a:schemeClr>
                      </a:solidFill>
                      <a:prstDash val="solid"/>
                      <a:round/>
                      <a:headEnd type="none" w="med" len="med"/>
                      <a:tailEnd type="none" w="med" len="med"/>
                    </a:lnB>
                    <a:noFill/>
                  </a:tcPr>
                </a:tc>
                <a:tc hMerge="1">
                  <a:txBody>
                    <a:bodyPr/>
                    <a:lstStyle/>
                    <a:p>
                      <a:endParaRPr kumimoji="1" lang="ja-JP" altLang="en-US"/>
                    </a:p>
                  </a:txBody>
                  <a:tcPr>
                    <a:lnL w="12700" cmpd="sng">
                      <a:noFill/>
                      <a:prstDash val="solid"/>
                    </a:lnL>
                  </a:tcPr>
                </a:tc>
                <a:tc>
                  <a:txBody>
                    <a:bodyPr/>
                    <a:lstStyle/>
                    <a:p>
                      <a:pPr algn="l" fontAlgn="b"/>
                      <a:endParaRPr lang="ja-JP" altLang="en-US" sz="1050" b="0" i="0" u="none" strike="noStrike">
                        <a:solidFill>
                          <a:srgbClr val="000000"/>
                        </a:solidFill>
                        <a:effectLst/>
                        <a:latin typeface="+mj-lt"/>
                        <a:ea typeface="Meiryo UI" panose="020B0604030504040204" pitchFamily="50" charset="-128"/>
                      </a:endParaRPr>
                    </a:p>
                  </a:txBody>
                  <a:tcPr marL="8386" marR="8386" marT="8386" marB="0" anchor="b">
                    <a:lnL>
                      <a:noFill/>
                    </a:lnL>
                    <a:lnR>
                      <a:noFill/>
                    </a:lnR>
                    <a:lnT>
                      <a:noFill/>
                    </a:lnT>
                    <a:lnB w="6350" cap="flat" cmpd="sng" algn="ctr">
                      <a:solidFill>
                        <a:schemeClr val="bg1">
                          <a:lumMod val="65000"/>
                        </a:schemeClr>
                      </a:solidFill>
                      <a:prstDash val="solid"/>
                      <a:round/>
                      <a:headEnd type="none" w="med" len="med"/>
                      <a:tailEnd type="none" w="med" len="med"/>
                    </a:lnB>
                    <a:noFill/>
                  </a:tcPr>
                </a:tc>
                <a:tc>
                  <a:txBody>
                    <a:bodyPr/>
                    <a:lstStyle/>
                    <a:p>
                      <a:pPr algn="l" fontAlgn="b"/>
                      <a:endParaRPr lang="ja-JP" altLang="en-US" sz="1050" b="0" i="0" u="none" strike="noStrike">
                        <a:solidFill>
                          <a:srgbClr val="000000"/>
                        </a:solidFill>
                        <a:effectLst/>
                        <a:latin typeface="+mj-lt"/>
                        <a:ea typeface="Meiryo UI" panose="020B0604030504040204" pitchFamily="50" charset="-128"/>
                      </a:endParaRPr>
                    </a:p>
                  </a:txBody>
                  <a:tcPr marL="8386" marR="8386" marT="8386" marB="0" anchor="b">
                    <a:lnL>
                      <a:noFill/>
                    </a:lnL>
                    <a:lnR>
                      <a:noFill/>
                    </a:lnR>
                    <a:lnT>
                      <a:noFill/>
                    </a:lnT>
                    <a:lnB w="6350" cap="flat" cmpd="sng" algn="ctr">
                      <a:solidFill>
                        <a:schemeClr val="bg1">
                          <a:lumMod val="65000"/>
                        </a:schemeClr>
                      </a:solidFill>
                      <a:prstDash val="solid"/>
                      <a:round/>
                      <a:headEnd type="none" w="med" len="med"/>
                      <a:tailEnd type="none" w="med" len="med"/>
                    </a:lnB>
                    <a:noFill/>
                  </a:tcPr>
                </a:tc>
                <a:tc>
                  <a:txBody>
                    <a:bodyPr/>
                    <a:lstStyle/>
                    <a:p>
                      <a:pPr algn="l" fontAlgn="b"/>
                      <a:endParaRPr lang="ja-JP" altLang="en-US" sz="1050" b="0" i="0" u="none" strike="noStrike">
                        <a:solidFill>
                          <a:srgbClr val="000000"/>
                        </a:solidFill>
                        <a:effectLst/>
                        <a:latin typeface="+mj-lt"/>
                        <a:ea typeface="Meiryo UI" panose="020B0604030504040204" pitchFamily="50" charset="-128"/>
                      </a:endParaRPr>
                    </a:p>
                  </a:txBody>
                  <a:tcPr marL="8386" marR="8386" marT="8386" marB="0" anchor="b">
                    <a:lnL>
                      <a:noFill/>
                    </a:lnL>
                    <a:lnR>
                      <a:noFill/>
                    </a:lnR>
                    <a:lnT>
                      <a:noFill/>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853344364"/>
                  </a:ext>
                </a:extLst>
              </a:tr>
              <a:tr h="290328">
                <a:tc>
                  <a:txBody>
                    <a:bodyPr/>
                    <a:lstStyle/>
                    <a:p>
                      <a:pPr algn="l" fontAlgn="b"/>
                      <a:r>
                        <a:rPr lang="en-US" altLang="ja-JP" sz="1050" b="0" i="0" u="none" strike="noStrike">
                          <a:solidFill>
                            <a:srgbClr val="000000"/>
                          </a:solidFill>
                          <a:effectLst/>
                          <a:latin typeface="+mn-ea"/>
                          <a:ea typeface="+mn-ea"/>
                        </a:rPr>
                        <a:t>#</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ja-JP" altLang="en-US" sz="1050" b="0" i="0" u="none" strike="noStrike">
                          <a:solidFill>
                            <a:srgbClr val="000000"/>
                          </a:solidFill>
                          <a:effectLst/>
                          <a:latin typeface="+mn-ea"/>
                          <a:ea typeface="+mn-ea"/>
                        </a:rPr>
                        <a:t>外部システム連携先</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ja-JP" altLang="en-US" sz="1050" b="0" i="0" u="none" strike="noStrike">
                          <a:solidFill>
                            <a:srgbClr val="000000"/>
                          </a:solidFill>
                          <a:effectLst/>
                          <a:latin typeface="+mn-ea"/>
                          <a:ea typeface="+mn-ea"/>
                        </a:rPr>
                        <a:t>概要</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ja-JP" altLang="en-US" sz="1050" b="0" i="0" u="none" strike="noStrike">
                          <a:solidFill>
                            <a:srgbClr val="000000"/>
                          </a:solidFill>
                          <a:effectLst/>
                          <a:latin typeface="+mn-ea"/>
                          <a:ea typeface="+mn-ea"/>
                        </a:rPr>
                        <a:t>連携頻度</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ja-JP" altLang="en-US" sz="1050" b="0" i="0" u="none" strike="noStrike">
                          <a:solidFill>
                            <a:srgbClr val="000000"/>
                          </a:solidFill>
                          <a:effectLst/>
                          <a:latin typeface="+mn-ea"/>
                          <a:ea typeface="+mn-ea"/>
                        </a:rPr>
                        <a:t>備考</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127507193"/>
                  </a:ext>
                </a:extLst>
              </a:tr>
              <a:tr h="290328">
                <a:tc>
                  <a:txBody>
                    <a:bodyPr/>
                    <a:lstStyle/>
                    <a:p>
                      <a:pPr algn="r" fontAlgn="b"/>
                      <a:r>
                        <a:rPr lang="en-US" altLang="ja-JP" sz="1050" b="0" i="0" u="none" strike="noStrike">
                          <a:solidFill>
                            <a:srgbClr val="000000"/>
                          </a:solidFill>
                          <a:effectLst/>
                          <a:latin typeface="+mn-ea"/>
                          <a:ea typeface="+mn-ea"/>
                        </a:rPr>
                        <a:t>1</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en-US" altLang="ja-JP" sz="1050" b="0" i="0" u="none" strike="noStrike">
                          <a:solidFill>
                            <a:srgbClr val="000000"/>
                          </a:solidFill>
                          <a:effectLst/>
                          <a:latin typeface="+mn-ea"/>
                          <a:ea typeface="+mn-ea"/>
                        </a:rPr>
                        <a:t>SAP</a:t>
                      </a:r>
                      <a:endParaRPr lang="ja-JP" altLang="en-US" sz="1050" b="0" i="0" u="none" strike="noStrike">
                        <a:solidFill>
                          <a:srgbClr val="000000"/>
                        </a:solidFill>
                        <a:effectLst/>
                        <a:latin typeface="+mn-ea"/>
                        <a:ea typeface="+mn-ea"/>
                      </a:endParaRP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文書作成時に</a:t>
                      </a:r>
                      <a:r>
                        <a:rPr lang="en-US" altLang="ja-JP" sz="1050" b="0" i="0" u="none" strike="noStrike">
                          <a:solidFill>
                            <a:srgbClr val="000000"/>
                          </a:solidFill>
                          <a:effectLst/>
                          <a:latin typeface="+mn-ea"/>
                          <a:ea typeface="+mn-ea"/>
                        </a:rPr>
                        <a:t>SAP</a:t>
                      </a:r>
                      <a:r>
                        <a:rPr lang="ja-JP" altLang="en-US" sz="1050" b="0" i="0" u="none" strike="noStrike">
                          <a:solidFill>
                            <a:srgbClr val="000000"/>
                          </a:solidFill>
                          <a:effectLst/>
                          <a:latin typeface="+mn-ea"/>
                          <a:ea typeface="+mn-ea"/>
                        </a:rPr>
                        <a:t>（</a:t>
                      </a:r>
                      <a:r>
                        <a:rPr lang="en-US" altLang="ja-JP" sz="1050" b="0" i="0" u="none" strike="noStrike" err="1">
                          <a:solidFill>
                            <a:srgbClr val="000000"/>
                          </a:solidFill>
                          <a:effectLst/>
                          <a:latin typeface="+mn-ea"/>
                          <a:ea typeface="+mn-ea"/>
                        </a:rPr>
                        <a:t>Mone</a:t>
                      </a:r>
                      <a:r>
                        <a:rPr lang="ja-JP" altLang="en-US" sz="1050" b="0" i="0" u="none" strike="noStrike">
                          <a:solidFill>
                            <a:srgbClr val="000000"/>
                          </a:solidFill>
                          <a:effectLst/>
                          <a:latin typeface="+mn-ea"/>
                          <a:ea typeface="+mn-ea"/>
                        </a:rPr>
                        <a:t>・</a:t>
                      </a:r>
                      <a:r>
                        <a:rPr lang="en-US" altLang="ja-JP" sz="1050" b="0" i="0" u="none" strike="noStrike">
                          <a:solidFill>
                            <a:srgbClr val="000000"/>
                          </a:solidFill>
                          <a:effectLst/>
                          <a:latin typeface="+mn-ea"/>
                          <a:ea typeface="+mn-ea"/>
                        </a:rPr>
                        <a:t>SEAMS</a:t>
                      </a:r>
                      <a:r>
                        <a:rPr lang="ja-JP" altLang="en-US" sz="1050" b="0" i="0" u="none" strike="noStrike">
                          <a:solidFill>
                            <a:srgbClr val="000000"/>
                          </a:solidFill>
                          <a:effectLst/>
                          <a:latin typeface="+mn-ea"/>
                          <a:ea typeface="+mn-ea"/>
                        </a:rPr>
                        <a:t>・</a:t>
                      </a:r>
                      <a:r>
                        <a:rPr lang="en-US" altLang="ja-JP" sz="1050" b="0" i="0" u="none" strike="noStrike">
                          <a:solidFill>
                            <a:srgbClr val="000000"/>
                          </a:solidFill>
                          <a:effectLst/>
                          <a:latin typeface="+mn-ea"/>
                          <a:ea typeface="+mn-ea"/>
                        </a:rPr>
                        <a:t>PC/PE</a:t>
                      </a:r>
                      <a:r>
                        <a:rPr lang="ja-JP" altLang="en-US" sz="1050" b="0" i="0" u="none" strike="noStrike">
                          <a:solidFill>
                            <a:srgbClr val="000000"/>
                          </a:solidFill>
                          <a:effectLst/>
                          <a:latin typeface="+mn-ea"/>
                          <a:ea typeface="+mn-ea"/>
                        </a:rPr>
                        <a:t>－</a:t>
                      </a:r>
                      <a:r>
                        <a:rPr lang="en-US" altLang="ja-JP" sz="1050" b="0" i="0" u="none" strike="noStrike">
                          <a:solidFill>
                            <a:srgbClr val="000000"/>
                          </a:solidFill>
                          <a:effectLst/>
                          <a:latin typeface="+mn-ea"/>
                          <a:ea typeface="+mn-ea"/>
                        </a:rPr>
                        <a:t>SAP</a:t>
                      </a:r>
                      <a:r>
                        <a:rPr lang="ja-JP" altLang="en-US" sz="1050" b="0" i="0" u="none" strike="noStrike">
                          <a:solidFill>
                            <a:srgbClr val="000000"/>
                          </a:solidFill>
                          <a:effectLst/>
                          <a:latin typeface="+mn-ea"/>
                          <a:ea typeface="+mn-ea"/>
                        </a:rPr>
                        <a:t>）から顧客情報を適切なコード体系で引用する</a:t>
                      </a:r>
                      <a:endParaRPr lang="en-US" altLang="ja-JP" sz="1050" b="0" i="0" u="none" strike="noStrike">
                        <a:solidFill>
                          <a:srgbClr val="000000"/>
                        </a:solidFill>
                        <a:effectLst/>
                        <a:latin typeface="+mn-ea"/>
                        <a:ea typeface="+mn-ea"/>
                      </a:endParaRP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kumimoji="1" lang="ja-JP" altLang="en-US" sz="1050"/>
                        <a:t>３．非機能要件性能（２）拡張性による</a:t>
                      </a:r>
                      <a:endParaRPr lang="zh-TW" altLang="en-US" sz="1050" b="0" i="0" u="none" strike="noStrike">
                        <a:solidFill>
                          <a:srgbClr val="000000"/>
                        </a:solidFill>
                        <a:effectLst/>
                        <a:latin typeface="+mn-ea"/>
                        <a:ea typeface="+mn-ea"/>
                      </a:endParaRP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endParaRPr lang="zh-TW" altLang="en-US" sz="1050" b="0" i="0" u="none" strike="noStrike">
                        <a:solidFill>
                          <a:srgbClr val="000000"/>
                        </a:solidFill>
                        <a:effectLst/>
                        <a:latin typeface="+mn-ea"/>
                        <a:ea typeface="+mn-ea"/>
                      </a:endParaRP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163807935"/>
                  </a:ext>
                </a:extLst>
              </a:tr>
              <a:tr h="290328">
                <a:tc>
                  <a:txBody>
                    <a:bodyPr/>
                    <a:lstStyle/>
                    <a:p>
                      <a:pPr algn="r" fontAlgn="b"/>
                      <a:r>
                        <a:rPr lang="en-US" altLang="ja-JP" sz="1050" b="0" i="0" u="none" strike="noStrike">
                          <a:solidFill>
                            <a:srgbClr val="000000"/>
                          </a:solidFill>
                          <a:effectLst/>
                          <a:latin typeface="+mn-ea"/>
                          <a:ea typeface="+mn-ea"/>
                        </a:rPr>
                        <a:t>2</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en-US" altLang="ja-JP" sz="1050" b="0" i="0" u="none" strike="noStrike" err="1">
                          <a:solidFill>
                            <a:srgbClr val="000000"/>
                          </a:solidFill>
                          <a:effectLst/>
                          <a:latin typeface="+mn-ea"/>
                          <a:ea typeface="+mn-ea"/>
                        </a:rPr>
                        <a:t>Entra</a:t>
                      </a:r>
                      <a:r>
                        <a:rPr lang="en-US" altLang="ja-JP" sz="1050" b="0" i="0" u="none" strike="noStrike">
                          <a:solidFill>
                            <a:srgbClr val="000000"/>
                          </a:solidFill>
                          <a:effectLst/>
                          <a:latin typeface="+mn-ea"/>
                          <a:ea typeface="+mn-ea"/>
                        </a:rPr>
                        <a:t> ID</a:t>
                      </a:r>
                      <a:endParaRPr lang="ja-JP" altLang="en-US" sz="1050" b="0" i="0" u="none" strike="noStrike">
                        <a:solidFill>
                          <a:srgbClr val="000000"/>
                        </a:solidFill>
                        <a:effectLst/>
                        <a:latin typeface="+mn-ea"/>
                        <a:ea typeface="+mn-ea"/>
                      </a:endParaRP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ja-JP" altLang="en-US" sz="1050" b="0" i="0" u="none" strike="noStrike">
                          <a:solidFill>
                            <a:srgbClr val="000000"/>
                          </a:solidFill>
                          <a:effectLst/>
                          <a:latin typeface="+mn-ea"/>
                          <a:ea typeface="+mn-ea"/>
                        </a:rPr>
                        <a:t>社員のアカウント情報を認証・認可基盤として利用し、シングルサインオンを行う</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JP" altLang="en-US" sz="1050"/>
                        <a:t>３．非機能要件性能（２）拡張性による</a:t>
                      </a:r>
                      <a:endParaRPr lang="zh-TW" altLang="en-US" sz="1050" b="0" i="0" u="none" strike="noStrike">
                        <a:solidFill>
                          <a:srgbClr val="000000"/>
                        </a:solidFill>
                        <a:effectLst/>
                        <a:latin typeface="+mn-ea"/>
                        <a:ea typeface="+mn-ea"/>
                      </a:endParaRP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endParaRPr lang="zh-TW" altLang="en-US" sz="1050" b="0" i="0" u="none" strike="noStrike">
                        <a:solidFill>
                          <a:srgbClr val="000000"/>
                        </a:solidFill>
                        <a:effectLst/>
                        <a:latin typeface="+mn-ea"/>
                        <a:ea typeface="+mn-ea"/>
                      </a:endParaRP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411903078"/>
                  </a:ext>
                </a:extLst>
              </a:tr>
              <a:tr h="290328">
                <a:tc>
                  <a:txBody>
                    <a:bodyPr/>
                    <a:lstStyle/>
                    <a:p>
                      <a:pPr algn="r" fontAlgn="b"/>
                      <a:r>
                        <a:rPr lang="en-US" altLang="ja-JP" sz="1050" b="0" i="0" u="none" strike="noStrike">
                          <a:solidFill>
                            <a:srgbClr val="000000"/>
                          </a:solidFill>
                          <a:effectLst/>
                          <a:latin typeface="+mn-ea"/>
                          <a:ea typeface="+mn-ea"/>
                        </a:rPr>
                        <a:t>3</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r>
                        <a:rPr lang="en-US" altLang="ja-JP" sz="1050" b="0" i="0" u="none" strike="noStrike">
                          <a:solidFill>
                            <a:srgbClr val="000000"/>
                          </a:solidFill>
                          <a:effectLst/>
                          <a:latin typeface="+mn-ea"/>
                          <a:ea typeface="+mn-ea"/>
                        </a:rPr>
                        <a:t>Microsoft SharePoint Online</a:t>
                      </a:r>
                      <a:endParaRPr lang="ja-JP" altLang="en-US" sz="1050" b="0" i="0" u="none" strike="noStrike">
                        <a:solidFill>
                          <a:srgbClr val="000000"/>
                        </a:solidFill>
                        <a:effectLst/>
                        <a:latin typeface="+mn-ea"/>
                        <a:ea typeface="+mn-ea"/>
                      </a:endParaRP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mn-ea"/>
                          <a:ea typeface="+mn-ea"/>
                        </a:rPr>
                        <a:t>アプリ利用者の制御や文書作成時の組織情報を引用する</a:t>
                      </a: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ja-JP" altLang="en-US" sz="1050"/>
                        <a:t>３．非機能要件性能（２）拡張性による</a:t>
                      </a:r>
                      <a:endParaRPr lang="zh-TW" altLang="en-US" sz="1050" b="0" i="0" u="none" strike="noStrike">
                        <a:solidFill>
                          <a:srgbClr val="000000"/>
                        </a:solidFill>
                        <a:effectLst/>
                        <a:latin typeface="+mn-ea"/>
                        <a:ea typeface="+mn-ea"/>
                      </a:endParaRP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algn="l" fontAlgn="b"/>
                      <a:endParaRPr lang="zh-TW" altLang="en-US" sz="1050" b="0" i="0" u="none" strike="noStrike">
                        <a:solidFill>
                          <a:srgbClr val="000000"/>
                        </a:solidFill>
                        <a:effectLst/>
                        <a:latin typeface="+mn-ea"/>
                        <a:ea typeface="+mn-ea"/>
                      </a:endParaRPr>
                    </a:p>
                  </a:txBody>
                  <a:tcPr marL="8386" marR="8386" marT="8386" marB="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169790471"/>
                  </a:ext>
                </a:extLst>
              </a:tr>
            </a:tbl>
          </a:graphicData>
        </a:graphic>
      </p:graphicFrame>
    </p:spTree>
    <p:extLst>
      <p:ext uri="{BB962C8B-B14F-4D97-AF65-F5344CB8AC3E}">
        <p14:creationId xmlns:p14="http://schemas.microsoft.com/office/powerpoint/2010/main" val="426505962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F551CF8-85CB-B61D-0C43-BB587DB998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8" name="think-cell data - do not delete" hidden="1">
                        <a:extLst>
                          <a:ext uri="{FF2B5EF4-FFF2-40B4-BE49-F238E27FC236}">
                            <a16:creationId xmlns:a16="http://schemas.microsoft.com/office/drawing/2014/main" id="{4F551CF8-85CB-B61D-0C43-BB587DB998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テキスト プレースホルダー 4">
            <a:extLst>
              <a:ext uri="{FF2B5EF4-FFF2-40B4-BE49-F238E27FC236}">
                <a16:creationId xmlns:a16="http://schemas.microsoft.com/office/drawing/2014/main" id="{42DFA4FD-49DC-4731-ADFC-2219F4A8B4A7}"/>
              </a:ext>
            </a:extLst>
          </p:cNvPr>
          <p:cNvSpPr>
            <a:spLocks noGrp="1"/>
          </p:cNvSpPr>
          <p:nvPr>
            <p:ph type="body" sz="quarter" idx="13"/>
          </p:nvPr>
        </p:nvSpPr>
        <p:spPr>
          <a:xfrm>
            <a:off x="251524" y="1052963"/>
            <a:ext cx="8640950" cy="5668514"/>
          </a:xfrm>
        </p:spPr>
        <p:txBody>
          <a:bodyPr>
            <a:normAutofit/>
          </a:bodyPr>
          <a:lstStyle/>
          <a:p>
            <a:pPr marL="0" indent="0">
              <a:buNone/>
            </a:pPr>
            <a:r>
              <a:rPr lang="en-US" altLang="ja-JP" sz="1800"/>
              <a:t>(7)</a:t>
            </a:r>
            <a:r>
              <a:rPr lang="ja-JP" altLang="en-US" sz="1800"/>
              <a:t>機能別アクセス範囲</a:t>
            </a:r>
            <a:endParaRPr lang="en-US" altLang="ja-JP" sz="1800">
              <a:solidFill>
                <a:schemeClr val="accent6">
                  <a:lumMod val="75000"/>
                </a:schemeClr>
              </a:solidFill>
            </a:endParaRPr>
          </a:p>
        </p:txBody>
      </p:sp>
      <p:sp>
        <p:nvSpPr>
          <p:cNvPr id="4" name="タイトル 3">
            <a:extLst>
              <a:ext uri="{FF2B5EF4-FFF2-40B4-BE49-F238E27FC236}">
                <a16:creationId xmlns:a16="http://schemas.microsoft.com/office/drawing/2014/main" id="{2BB1540D-A685-4E1B-B317-DC9AFFB19144}"/>
              </a:ext>
            </a:extLst>
          </p:cNvPr>
          <p:cNvSpPr>
            <a:spLocks noGrp="1"/>
          </p:cNvSpPr>
          <p:nvPr>
            <p:ph type="title"/>
          </p:nvPr>
        </p:nvSpPr>
        <p:spPr>
          <a:xfrm>
            <a:off x="251519" y="263966"/>
            <a:ext cx="6932935" cy="523220"/>
          </a:xfrm>
        </p:spPr>
        <p:txBody>
          <a:bodyPr vert="horz"/>
          <a:lstStyle/>
          <a:p>
            <a:r>
              <a:rPr lang="ja-JP" altLang="en-US"/>
              <a:t>２．機能要件</a:t>
            </a:r>
            <a:endParaRPr kumimoji="1" lang="ja-JP" altLang="en-US"/>
          </a:p>
        </p:txBody>
      </p:sp>
      <p:sp>
        <p:nvSpPr>
          <p:cNvPr id="6" name="スライド番号プレースホルダー 5">
            <a:extLst>
              <a:ext uri="{FF2B5EF4-FFF2-40B4-BE49-F238E27FC236}">
                <a16:creationId xmlns:a16="http://schemas.microsoft.com/office/drawing/2014/main" id="{89DAB562-637A-4CEF-A9B8-1E00925B8D49}"/>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44</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2" name="コンテンツ プレースホルダー 6">
            <a:extLst>
              <a:ext uri="{FF2B5EF4-FFF2-40B4-BE49-F238E27FC236}">
                <a16:creationId xmlns:a16="http://schemas.microsoft.com/office/drawing/2014/main" id="{3E459797-BB47-C5A3-ED03-A65240AC92A2}"/>
              </a:ext>
            </a:extLst>
          </p:cNvPr>
          <p:cNvSpPr txBox="1">
            <a:spLocks/>
          </p:cNvSpPr>
          <p:nvPr/>
        </p:nvSpPr>
        <p:spPr>
          <a:xfrm>
            <a:off x="251519" y="1576184"/>
            <a:ext cx="8603312" cy="4228853"/>
          </a:xfrm>
          <a:prstGeom prst="rect">
            <a:avLst/>
          </a:prstGeom>
        </p:spPr>
        <p:txBody>
          <a:bodyPr vert="horz" lIns="0" tIns="0" rIns="0" bIns="0" rtlCol="0">
            <a:normAutofit/>
          </a:bodyPr>
          <a:lstStyle>
            <a:lvl1pPr marL="285750" indent="-285750" algn="l" defTabSz="914400" rtl="0" eaLnBrk="1" latinLnBrk="0" hangingPunct="1">
              <a:lnSpc>
                <a:spcPct val="150000"/>
              </a:lnSpc>
              <a:spcBef>
                <a:spcPts val="1000"/>
              </a:spcBef>
              <a:buFont typeface="Arial" panose="020B0604020202020204" pitchFamily="34" charset="0"/>
              <a:buChar char="•"/>
              <a:defRPr kumimoji="1" sz="1600" kern="1200" baseline="0">
                <a:solidFill>
                  <a:schemeClr val="tx1"/>
                </a:solidFill>
                <a:latin typeface="+mn-lt"/>
                <a:ea typeface="+mn-ea"/>
                <a:cs typeface="+mn-cs"/>
              </a:defRPr>
            </a:lvl1pPr>
            <a:lvl2pPr marL="64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100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3pPr>
            <a:lvl4pPr marL="136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4pPr>
            <a:lvl5pPr marL="1725750" indent="-285750" algn="l" defTabSz="914400" rtl="0" eaLnBrk="1" latinLnBrk="0" hangingPunct="1">
              <a:lnSpc>
                <a:spcPct val="150000"/>
              </a:lnSpc>
              <a:spcBef>
                <a:spcPts val="1000"/>
              </a:spcBef>
              <a:buFont typeface="Arial" panose="020B0604020202020204" pitchFamily="34" charset="0"/>
              <a:buChar char="•"/>
              <a:defRPr kumimoji="1" sz="16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ja-JP" altLang="en-US" sz="1400">
                <a:solidFill>
                  <a:srgbClr val="000000"/>
                </a:solidFill>
                <a:latin typeface="+mn-ea"/>
              </a:rPr>
              <a:t>事業部単位のユーザーにアクセスされる前提にて、文書ごとの権限と機能ごとの権限を示す</a:t>
            </a:r>
            <a:endParaRPr lang="en-US" altLang="ja-JP" sz="1400">
              <a:solidFill>
                <a:srgbClr val="000000"/>
              </a:solidFill>
              <a:latin typeface="+mn-ea"/>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ja-JP" altLang="en-US" sz="1400">
                <a:solidFill>
                  <a:srgbClr val="000000"/>
                </a:solidFill>
                <a:latin typeface="+mn-ea"/>
              </a:rPr>
              <a:t>権限は</a:t>
            </a:r>
            <a:r>
              <a:rPr lang="en-US" altLang="ja-JP" sz="1400">
                <a:solidFill>
                  <a:srgbClr val="000000"/>
                </a:solidFill>
                <a:latin typeface="+mn-ea"/>
              </a:rPr>
              <a:t>4</a:t>
            </a:r>
            <a:r>
              <a:rPr lang="ja-JP" altLang="en-US" sz="1400">
                <a:solidFill>
                  <a:srgbClr val="000000"/>
                </a:solidFill>
                <a:latin typeface="+mn-ea"/>
              </a:rPr>
              <a:t>つに大別される</a:t>
            </a:r>
            <a:endParaRPr lang="en-US" altLang="ja-JP" sz="1400">
              <a:solidFill>
                <a:srgbClr val="000000"/>
              </a:solidFill>
              <a:latin typeface="+mn-ea"/>
            </a:endParaRPr>
          </a:p>
          <a:p>
            <a:pPr marR="0" lvl="0" algn="l" defTabSz="914400" rtl="0" eaLnBrk="1" fontAlgn="auto" latinLnBrk="0" hangingPunct="1">
              <a:lnSpc>
                <a:spcPct val="100000"/>
              </a:lnSpc>
              <a:spcBef>
                <a:spcPts val="600"/>
              </a:spcBef>
              <a:spcAft>
                <a:spcPts val="0"/>
              </a:spcAft>
              <a:buClrTx/>
              <a:buSzTx/>
              <a:tabLst/>
              <a:defRPr/>
            </a:pPr>
            <a:r>
              <a:rPr lang="ja-JP" altLang="en-US" sz="1400">
                <a:solidFill>
                  <a:srgbClr val="000000"/>
                </a:solidFill>
                <a:latin typeface="+mn-ea"/>
              </a:rPr>
              <a:t>担当者：一般社員。担当者として自身が関与する文書にのみ権限を有する</a:t>
            </a:r>
            <a:endParaRPr lang="en-US" altLang="ja-JP" sz="1400">
              <a:solidFill>
                <a:srgbClr val="000000"/>
              </a:solidFill>
              <a:latin typeface="+mn-ea"/>
            </a:endParaRPr>
          </a:p>
          <a:p>
            <a:pPr marR="0" lvl="0" algn="l" defTabSz="914400" rtl="0" eaLnBrk="1" fontAlgn="auto" latinLnBrk="0" hangingPunct="1">
              <a:lnSpc>
                <a:spcPct val="100000"/>
              </a:lnSpc>
              <a:spcBef>
                <a:spcPts val="600"/>
              </a:spcBef>
              <a:spcAft>
                <a:spcPts val="0"/>
              </a:spcAft>
              <a:buClrTx/>
              <a:buSzTx/>
              <a:tabLst/>
              <a:defRPr/>
            </a:pPr>
            <a:r>
              <a:rPr lang="ja-JP" altLang="en-US" sz="1400">
                <a:solidFill>
                  <a:srgbClr val="000000"/>
                </a:solidFill>
                <a:latin typeface="+mn-ea"/>
              </a:rPr>
              <a:t>承認者：役職を持つ社員。承認者として自身が関与する文書にのみ権限を有する</a:t>
            </a:r>
            <a:endParaRPr lang="en-US" altLang="ja-JP" sz="1400">
              <a:solidFill>
                <a:srgbClr val="000000"/>
              </a:solidFill>
              <a:latin typeface="+mn-ea"/>
            </a:endParaRPr>
          </a:p>
          <a:p>
            <a:pPr marR="0" lvl="0" algn="l" defTabSz="914400" rtl="0" eaLnBrk="1" fontAlgn="auto" latinLnBrk="0" hangingPunct="1">
              <a:lnSpc>
                <a:spcPct val="100000"/>
              </a:lnSpc>
              <a:spcBef>
                <a:spcPts val="600"/>
              </a:spcBef>
              <a:spcAft>
                <a:spcPts val="0"/>
              </a:spcAft>
              <a:buClrTx/>
              <a:buSzTx/>
              <a:tabLst/>
              <a:defRPr/>
            </a:pPr>
            <a:r>
              <a:rPr lang="ja-JP" altLang="en-US" sz="1400">
                <a:solidFill>
                  <a:srgbClr val="000000"/>
                </a:solidFill>
                <a:latin typeface="+mn-ea"/>
              </a:rPr>
              <a:t>マスタ管理者：承認クリア・文書削除・マスタ削除・顧客変更権限以外のすべての権限を有する</a:t>
            </a:r>
            <a:endParaRPr lang="en-US" altLang="ja-JP" sz="1400">
              <a:solidFill>
                <a:srgbClr val="000000"/>
              </a:solidFill>
              <a:latin typeface="+mn-ea"/>
            </a:endParaRPr>
          </a:p>
          <a:p>
            <a:pPr marR="0" lvl="0" algn="l" defTabSz="914400" rtl="0" eaLnBrk="1" fontAlgn="auto" latinLnBrk="0" hangingPunct="1">
              <a:lnSpc>
                <a:spcPct val="100000"/>
              </a:lnSpc>
              <a:spcBef>
                <a:spcPts val="600"/>
              </a:spcBef>
              <a:spcAft>
                <a:spcPts val="0"/>
              </a:spcAft>
              <a:buClrTx/>
              <a:buSzTx/>
              <a:tabLst/>
              <a:defRPr/>
            </a:pPr>
            <a:r>
              <a:rPr lang="ja-JP" altLang="en-US" sz="1400">
                <a:solidFill>
                  <a:srgbClr val="000000"/>
                </a:solidFill>
                <a:latin typeface="+mn-ea"/>
              </a:rPr>
              <a:t>システム管理者：システムの管理責任者として全権限を有する</a:t>
            </a:r>
            <a:endParaRPr lang="en-US" altLang="ja-JP" sz="1400">
              <a:solidFill>
                <a:srgbClr val="000000"/>
              </a:solidFill>
              <a:latin typeface="+mn-ea"/>
            </a:endParaRPr>
          </a:p>
          <a:p>
            <a:pPr marR="0" lvl="0" algn="l" defTabSz="914400" rtl="0" eaLnBrk="1" fontAlgn="auto" latinLnBrk="0" hangingPunct="1">
              <a:lnSpc>
                <a:spcPct val="100000"/>
              </a:lnSpc>
              <a:spcBef>
                <a:spcPts val="600"/>
              </a:spcBef>
              <a:spcAft>
                <a:spcPts val="0"/>
              </a:spcAft>
              <a:buClrTx/>
              <a:buSzTx/>
              <a:tabLst/>
              <a:defRPr/>
            </a:pPr>
            <a:endParaRPr lang="en-US" altLang="ja-JP" sz="1400">
              <a:solidFill>
                <a:srgbClr val="000000"/>
              </a:solidFill>
              <a:latin typeface="+mn-ea"/>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US" altLang="ja-JP" sz="1400">
              <a:solidFill>
                <a:srgbClr val="000000"/>
              </a:solidFill>
              <a:latin typeface="+mn-ea"/>
            </a:endParaRPr>
          </a:p>
        </p:txBody>
      </p:sp>
    </p:spTree>
    <p:extLst>
      <p:ext uri="{BB962C8B-B14F-4D97-AF65-F5344CB8AC3E}">
        <p14:creationId xmlns:p14="http://schemas.microsoft.com/office/powerpoint/2010/main" val="359602027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F551CF8-85CB-B61D-0C43-BB587DB998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8" name="think-cell data - do not delete" hidden="1">
                        <a:extLst>
                          <a:ext uri="{FF2B5EF4-FFF2-40B4-BE49-F238E27FC236}">
                            <a16:creationId xmlns:a16="http://schemas.microsoft.com/office/drawing/2014/main" id="{4F551CF8-85CB-B61D-0C43-BB587DB998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テキスト プレースホルダー 4">
            <a:extLst>
              <a:ext uri="{FF2B5EF4-FFF2-40B4-BE49-F238E27FC236}">
                <a16:creationId xmlns:a16="http://schemas.microsoft.com/office/drawing/2014/main" id="{42DFA4FD-49DC-4731-ADFC-2219F4A8B4A7}"/>
              </a:ext>
            </a:extLst>
          </p:cNvPr>
          <p:cNvSpPr>
            <a:spLocks noGrp="1"/>
          </p:cNvSpPr>
          <p:nvPr>
            <p:ph type="body" sz="quarter" idx="13"/>
          </p:nvPr>
        </p:nvSpPr>
        <p:spPr>
          <a:xfrm>
            <a:off x="251524" y="1052963"/>
            <a:ext cx="8640950" cy="5668514"/>
          </a:xfrm>
        </p:spPr>
        <p:txBody>
          <a:bodyPr>
            <a:normAutofit/>
          </a:bodyPr>
          <a:lstStyle/>
          <a:p>
            <a:pPr marL="0" indent="0">
              <a:buNone/>
            </a:pPr>
            <a:r>
              <a:rPr lang="en-US" altLang="ja-JP" sz="1800"/>
              <a:t>(7)</a:t>
            </a:r>
            <a:r>
              <a:rPr lang="ja-JP" altLang="en-US" sz="1800"/>
              <a:t>機能別アクセス範囲</a:t>
            </a:r>
            <a:endParaRPr lang="en-US" altLang="ja-JP" sz="1800">
              <a:solidFill>
                <a:schemeClr val="accent6">
                  <a:lumMod val="75000"/>
                </a:schemeClr>
              </a:solidFill>
            </a:endParaRPr>
          </a:p>
        </p:txBody>
      </p:sp>
      <p:sp>
        <p:nvSpPr>
          <p:cNvPr id="4" name="タイトル 3">
            <a:extLst>
              <a:ext uri="{FF2B5EF4-FFF2-40B4-BE49-F238E27FC236}">
                <a16:creationId xmlns:a16="http://schemas.microsoft.com/office/drawing/2014/main" id="{2BB1540D-A685-4E1B-B317-DC9AFFB19144}"/>
              </a:ext>
            </a:extLst>
          </p:cNvPr>
          <p:cNvSpPr>
            <a:spLocks noGrp="1"/>
          </p:cNvSpPr>
          <p:nvPr>
            <p:ph type="title"/>
          </p:nvPr>
        </p:nvSpPr>
        <p:spPr>
          <a:xfrm>
            <a:off x="251519" y="263966"/>
            <a:ext cx="6932935" cy="523220"/>
          </a:xfrm>
        </p:spPr>
        <p:txBody>
          <a:bodyPr vert="horz"/>
          <a:lstStyle/>
          <a:p>
            <a:r>
              <a:rPr lang="ja-JP" altLang="en-US"/>
              <a:t>２．機能要件</a:t>
            </a:r>
            <a:endParaRPr kumimoji="1" lang="ja-JP" altLang="en-US"/>
          </a:p>
        </p:txBody>
      </p:sp>
      <p:sp>
        <p:nvSpPr>
          <p:cNvPr id="6" name="スライド番号プレースホルダー 5">
            <a:extLst>
              <a:ext uri="{FF2B5EF4-FFF2-40B4-BE49-F238E27FC236}">
                <a16:creationId xmlns:a16="http://schemas.microsoft.com/office/drawing/2014/main" id="{89DAB562-637A-4CEF-A9B8-1E00925B8D49}"/>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45</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9" name="正方形/長方形 8">
            <a:extLst>
              <a:ext uri="{FF2B5EF4-FFF2-40B4-BE49-F238E27FC236}">
                <a16:creationId xmlns:a16="http://schemas.microsoft.com/office/drawing/2014/main" id="{1937F843-39D3-831C-3F43-0081EDF4F142}"/>
              </a:ext>
            </a:extLst>
          </p:cNvPr>
          <p:cNvSpPr/>
          <p:nvPr/>
        </p:nvSpPr>
        <p:spPr>
          <a:xfrm>
            <a:off x="6493282" y="988223"/>
            <a:ext cx="2129447" cy="393192"/>
          </a:xfrm>
          <a:prstGeom prst="rect">
            <a:avLst/>
          </a:prstGeom>
          <a:noFill/>
          <a:ln w="6350">
            <a:solidFill>
              <a:schemeClr val="accent3"/>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5731" marR="0" lvl="0" indent="-135731" algn="l" defTabSz="914400" rtl="0" eaLnBrk="1" fontAlgn="auto" latinLnBrk="0" hangingPunct="1">
              <a:lnSpc>
                <a:spcPct val="150000"/>
              </a:lnSpc>
              <a:spcBef>
                <a:spcPts val="0"/>
              </a:spcBef>
              <a:spcAft>
                <a:spcPts val="0"/>
              </a:spcAft>
              <a:buClrTx/>
              <a:buSzTx/>
              <a:buFont typeface="Wingdings" panose="05000000000000000000" pitchFamily="2" charset="2"/>
              <a:buChar char="l"/>
              <a:tabLst/>
              <a:defRPr/>
            </a:pPr>
            <a:r>
              <a:rPr kumimoji="1" lang="ja-JP" altLang="en-US" sz="788"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凡例</a:t>
            </a:r>
            <a:endParaRPr kumimoji="1" lang="en-US" altLang="ja-JP" sz="788"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01216" marR="0" lvl="1" indent="0" algn="l" defTabSz="914400" rtl="0" eaLnBrk="1" fontAlgn="auto" latinLnBrk="0" hangingPunct="1">
              <a:lnSpc>
                <a:spcPct val="100000"/>
              </a:lnSpc>
              <a:spcBef>
                <a:spcPts val="0"/>
              </a:spcBef>
              <a:spcAft>
                <a:spcPts val="0"/>
              </a:spcAft>
              <a:buClrTx/>
              <a:buSzTx/>
              <a:buFontTx/>
              <a:buNone/>
              <a:tabLst/>
              <a:defRPr/>
            </a:pPr>
            <a:r>
              <a:rPr kumimoji="1" lang="ja-JP" altLang="en-US" sz="78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可能</a:t>
            </a:r>
            <a:r>
              <a:rPr kumimoji="1" lang="ja-JP" altLang="en-US" sz="788"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78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一部可能　</a:t>
            </a:r>
            <a:r>
              <a:rPr kumimoji="1" lang="en-US" altLang="ja-JP" sz="78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8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不可</a:t>
            </a:r>
            <a:endParaRPr kumimoji="1" lang="en-US" altLang="ja-JP" sz="78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10" name="表 7">
            <a:extLst>
              <a:ext uri="{FF2B5EF4-FFF2-40B4-BE49-F238E27FC236}">
                <a16:creationId xmlns:a16="http://schemas.microsoft.com/office/drawing/2014/main" id="{F1B4073D-5C32-4533-86B4-00156EFF1A09}"/>
              </a:ext>
            </a:extLst>
          </p:cNvPr>
          <p:cNvGraphicFramePr>
            <a:graphicFrameLocks noGrp="1"/>
          </p:cNvGraphicFramePr>
          <p:nvPr>
            <p:extLst>
              <p:ext uri="{D42A27DB-BD31-4B8C-83A1-F6EECF244321}">
                <p14:modId xmlns:p14="http://schemas.microsoft.com/office/powerpoint/2010/main" val="779854502"/>
              </p:ext>
            </p:extLst>
          </p:nvPr>
        </p:nvGraphicFramePr>
        <p:xfrm>
          <a:off x="142876" y="1381416"/>
          <a:ext cx="8866164" cy="5398212"/>
        </p:xfrm>
        <a:graphic>
          <a:graphicData uri="http://schemas.openxmlformats.org/drawingml/2006/table">
            <a:tbl>
              <a:tblPr firstRow="1" bandRow="1">
                <a:tableStyleId>{5C22544A-7EE6-4342-B048-85BDC9FD1C3A}</a:tableStyleId>
              </a:tblPr>
              <a:tblGrid>
                <a:gridCol w="1114424">
                  <a:extLst>
                    <a:ext uri="{9D8B030D-6E8A-4147-A177-3AD203B41FA5}">
                      <a16:colId xmlns:a16="http://schemas.microsoft.com/office/drawing/2014/main" val="1035687737"/>
                    </a:ext>
                  </a:extLst>
                </a:gridCol>
                <a:gridCol w="1937935">
                  <a:extLst>
                    <a:ext uri="{9D8B030D-6E8A-4147-A177-3AD203B41FA5}">
                      <a16:colId xmlns:a16="http://schemas.microsoft.com/office/drawing/2014/main" val="525382596"/>
                    </a:ext>
                  </a:extLst>
                </a:gridCol>
                <a:gridCol w="1937935">
                  <a:extLst>
                    <a:ext uri="{9D8B030D-6E8A-4147-A177-3AD203B41FA5}">
                      <a16:colId xmlns:a16="http://schemas.microsoft.com/office/drawing/2014/main" val="112874956"/>
                    </a:ext>
                  </a:extLst>
                </a:gridCol>
                <a:gridCol w="1937935">
                  <a:extLst>
                    <a:ext uri="{9D8B030D-6E8A-4147-A177-3AD203B41FA5}">
                      <a16:colId xmlns:a16="http://schemas.microsoft.com/office/drawing/2014/main" val="670124733"/>
                    </a:ext>
                  </a:extLst>
                </a:gridCol>
                <a:gridCol w="1937935">
                  <a:extLst>
                    <a:ext uri="{9D8B030D-6E8A-4147-A177-3AD203B41FA5}">
                      <a16:colId xmlns:a16="http://schemas.microsoft.com/office/drawing/2014/main" val="1072579635"/>
                    </a:ext>
                  </a:extLst>
                </a:gridCol>
              </a:tblGrid>
              <a:tr h="250646">
                <a:tc rowSpan="2">
                  <a:txBody>
                    <a:bodyPr/>
                    <a:lstStyle/>
                    <a:p>
                      <a:pPr algn="ctr"/>
                      <a:r>
                        <a:rPr kumimoji="1" lang="ja-JP" altLang="en-US" sz="1100" b="1"/>
                        <a:t>機能</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gridSpan="4">
                  <a:txBody>
                    <a:bodyPr/>
                    <a:lstStyle/>
                    <a:p>
                      <a:pPr algn="ctr"/>
                      <a:r>
                        <a:rPr kumimoji="1" lang="ja-JP" altLang="en-US" sz="1100" b="1"/>
                        <a:t>権限</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sz="1400"/>
                    </a:p>
                  </a:txBody>
                  <a:tcPr/>
                </a:tc>
                <a:tc hMerge="1">
                  <a:txBody>
                    <a:bodyPr/>
                    <a:lstStyle/>
                    <a:p>
                      <a:pPr algn="ctr"/>
                      <a:endParaRPr kumimoji="1" lang="ja-JP" altLang="en-US" sz="1200" b="1"/>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80923915"/>
                  </a:ext>
                </a:extLst>
              </a:tr>
              <a:tr h="250646">
                <a:tc vMerge="1">
                  <a:txBody>
                    <a:bodyPr/>
                    <a:lstStyle/>
                    <a:p>
                      <a:endParaRPr kumimoji="1" lang="ja-JP" altLang="en-US"/>
                    </a:p>
                  </a:txBody>
                  <a:tcPr/>
                </a:tc>
                <a:tc>
                  <a:txBody>
                    <a:bodyPr/>
                    <a:lstStyle/>
                    <a:p>
                      <a:pPr algn="ctr"/>
                      <a:r>
                        <a:rPr kumimoji="1" lang="ja-JP" altLang="en-US" sz="1100" b="1">
                          <a:solidFill>
                            <a:schemeClr val="bg1"/>
                          </a:solidFill>
                        </a:rPr>
                        <a:t>担当者</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kumimoji="1" lang="ja-JP" altLang="en-US" sz="1100" b="1">
                          <a:solidFill>
                            <a:schemeClr val="bg1"/>
                          </a:solidFill>
                        </a:rPr>
                        <a:t>承認者</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kumimoji="1" lang="ja-JP" altLang="en-US" sz="1100" b="1">
                          <a:solidFill>
                            <a:schemeClr val="bg1"/>
                          </a:solidFill>
                        </a:rPr>
                        <a:t>マスタ管理者</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kumimoji="1" lang="ja-JP" altLang="en-US" sz="1100" b="1">
                          <a:solidFill>
                            <a:schemeClr val="bg1"/>
                          </a:solidFill>
                        </a:rPr>
                        <a:t>システム管理者</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530536653"/>
                  </a:ext>
                </a:extLst>
              </a:tr>
              <a:tr h="271114">
                <a:tc>
                  <a:txBody>
                    <a:bodyPr/>
                    <a:lstStyle/>
                    <a:p>
                      <a:pPr algn="l" fontAlgn="t"/>
                      <a:r>
                        <a:rPr lang="zh-TW" altLang="en-US" sz="1100" b="1" i="0" u="none" strike="noStrike">
                          <a:solidFill>
                            <a:schemeClr val="bg1"/>
                          </a:solidFill>
                          <a:effectLst/>
                          <a:latin typeface="+mn-ea"/>
                          <a:ea typeface="+mn-ea"/>
                        </a:rPr>
                        <a:t>文書作成</a:t>
                      </a:r>
                    </a:p>
                  </a:txBody>
                  <a:tcPr marL="72000" marR="9525" marT="9525" marB="0">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kumimoji="1" lang="ja-JP" altLang="en-US" sz="700" b="0"/>
                        <a:t>〇</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kumimoji="1" lang="ja-JP" altLang="en-US" sz="700" b="0"/>
                        <a:t>〇</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666305302"/>
                  </a:ext>
                </a:extLst>
              </a:tr>
              <a:tr h="271114">
                <a:tc>
                  <a:txBody>
                    <a:bodyPr/>
                    <a:lstStyle/>
                    <a:p>
                      <a:pPr algn="l" fontAlgn="t"/>
                      <a:r>
                        <a:rPr lang="ja-JP" altLang="en-US" sz="1100" b="1" i="0" u="none" strike="noStrike">
                          <a:solidFill>
                            <a:schemeClr val="bg1"/>
                          </a:solidFill>
                          <a:effectLst/>
                          <a:latin typeface="+mn-ea"/>
                          <a:ea typeface="+mn-ea"/>
                        </a:rPr>
                        <a:t>文書確認・承認</a:t>
                      </a:r>
                    </a:p>
                  </a:txBody>
                  <a:tcPr marL="72000" marR="9525" marT="9525" marB="0">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kumimoji="1" lang="ja-JP" altLang="en-US" sz="700" b="0"/>
                        <a:t>△（自身の役職に応じた承認のみ可能）</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kumimoji="1" lang="ja-JP" altLang="en-US" sz="700" b="0"/>
                        <a:t>〇</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684277695"/>
                  </a:ext>
                </a:extLst>
              </a:tr>
              <a:tr h="271114">
                <a:tc>
                  <a:txBody>
                    <a:bodyPr/>
                    <a:lstStyle/>
                    <a:p>
                      <a:pPr algn="l" fontAlgn="t"/>
                      <a:r>
                        <a:rPr lang="ja-JP" altLang="en-US" sz="1100" b="1" i="0" u="none" strike="noStrike">
                          <a:solidFill>
                            <a:schemeClr val="bg1"/>
                          </a:solidFill>
                          <a:effectLst/>
                          <a:latin typeface="+mn-ea"/>
                          <a:ea typeface="+mn-ea"/>
                        </a:rPr>
                        <a:t>文書登録</a:t>
                      </a:r>
                    </a:p>
                  </a:txBody>
                  <a:tcPr marL="72000" marR="9525" marT="9525" marB="0">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endParaRPr kumimoji="1" lang="en-US" altLang="ja-JP" sz="700" b="0"/>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endParaRPr kumimoji="1" lang="en-US" altLang="ja-JP" sz="700" b="0"/>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79489903"/>
                  </a:ext>
                </a:extLst>
              </a:tr>
              <a:tr h="271114">
                <a:tc>
                  <a:txBody>
                    <a:bodyPr/>
                    <a:lstStyle/>
                    <a:p>
                      <a:pPr algn="l" fontAlgn="t"/>
                      <a:r>
                        <a:rPr lang="ja-JP" altLang="en-US" sz="1100" b="1" i="0" u="none" strike="noStrike">
                          <a:solidFill>
                            <a:schemeClr val="bg1"/>
                          </a:solidFill>
                          <a:effectLst/>
                          <a:latin typeface="+mn-ea"/>
                          <a:ea typeface="+mn-ea"/>
                        </a:rPr>
                        <a:t>文書編集</a:t>
                      </a:r>
                    </a:p>
                  </a:txBody>
                  <a:tcPr marL="72000" marR="9525" marT="9525" marB="0">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kumimoji="1" lang="ja-JP" altLang="en-US" sz="700" b="0">
                          <a:solidFill>
                            <a:schemeClr val="tx1"/>
                          </a:solidFill>
                        </a:rPr>
                        <a:t>〇</a:t>
                      </a:r>
                      <a:endParaRPr kumimoji="1" lang="en-US" altLang="ja-JP" sz="700" b="0">
                        <a:solidFill>
                          <a:schemeClr val="tx1"/>
                        </a:solidFill>
                      </a:endParaRP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kumimoji="1" lang="ja-JP" altLang="en-US" sz="700" b="0">
                          <a:solidFill>
                            <a:schemeClr val="tx1"/>
                          </a:solidFill>
                        </a:rPr>
                        <a:t>〇</a:t>
                      </a:r>
                      <a:endParaRPr kumimoji="1" lang="en-US" altLang="ja-JP" sz="700" b="0">
                        <a:solidFill>
                          <a:schemeClr val="tx1"/>
                        </a:solidFill>
                      </a:endParaRP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622078446"/>
                  </a:ext>
                </a:extLst>
              </a:tr>
              <a:tr h="271114">
                <a:tc>
                  <a:txBody>
                    <a:bodyPr/>
                    <a:lstStyle/>
                    <a:p>
                      <a:pPr algn="l" fontAlgn="t"/>
                      <a:r>
                        <a:rPr lang="ja-JP" altLang="en-US" sz="1100" b="1" i="0" u="none" strike="noStrike">
                          <a:solidFill>
                            <a:schemeClr val="bg1"/>
                          </a:solidFill>
                          <a:effectLst/>
                          <a:latin typeface="+mn-ea"/>
                          <a:ea typeface="+mn-ea"/>
                        </a:rPr>
                        <a:t>文書廃棄</a:t>
                      </a:r>
                    </a:p>
                  </a:txBody>
                  <a:tcPr marL="72000" marR="9525" marT="9525" marB="0">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kumimoji="1" lang="ja-JP" altLang="en-US" sz="700" b="0"/>
                        <a:t>〇</a:t>
                      </a:r>
                      <a:endParaRPr kumimoji="1" lang="en-US" altLang="ja-JP" sz="700" b="0"/>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kumimoji="1" lang="ja-JP" altLang="en-US" sz="700" b="0"/>
                        <a:t>〇</a:t>
                      </a:r>
                      <a:endParaRPr kumimoji="1" lang="en-US" altLang="ja-JP" sz="700" b="0"/>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866785214"/>
                  </a:ext>
                </a:extLst>
              </a:tr>
              <a:tr h="271114">
                <a:tc>
                  <a:txBody>
                    <a:bodyPr/>
                    <a:lstStyle/>
                    <a:p>
                      <a:pPr algn="l" fontAlgn="t"/>
                      <a:r>
                        <a:rPr lang="ja-JP" altLang="en-US" sz="1100" b="1" i="0" u="none" strike="noStrike">
                          <a:solidFill>
                            <a:schemeClr val="bg1"/>
                          </a:solidFill>
                          <a:effectLst/>
                          <a:latin typeface="+mn-ea"/>
                          <a:ea typeface="+mn-ea"/>
                        </a:rPr>
                        <a:t>文書削除</a:t>
                      </a:r>
                    </a:p>
                  </a:txBody>
                  <a:tcPr marL="72000" marR="9525" marT="9525" marB="0">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a:t>
                      </a:r>
                      <a:endParaRPr kumimoji="1" lang="en-US" altLang="ja-JP" sz="700" b="0" i="0" u="none" strike="noStrike" kern="1200" cap="none" spc="0" normalizeH="0" baseline="0" noProof="0">
                        <a:ln>
                          <a:noFill/>
                        </a:ln>
                        <a:solidFill>
                          <a:prstClr val="black"/>
                        </a:solidFill>
                        <a:effectLst/>
                        <a:uLnTx/>
                        <a:uFillTx/>
                        <a:latin typeface="Yu Gothic UI"/>
                        <a:ea typeface="Yu Gothic UI"/>
                        <a:cs typeface="+mn-cs"/>
                      </a:endParaRP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a:t>
                      </a:r>
                      <a:endParaRPr kumimoji="1" lang="en-US" altLang="ja-JP" sz="700" b="0" i="0" u="none" strike="noStrike" kern="1200" cap="none" spc="0" normalizeH="0" baseline="0" noProof="0">
                        <a:ln>
                          <a:noFill/>
                        </a:ln>
                        <a:solidFill>
                          <a:prstClr val="black"/>
                        </a:solidFill>
                        <a:effectLst/>
                        <a:uLnTx/>
                        <a:uFillTx/>
                        <a:latin typeface="Yu Gothic UI"/>
                        <a:ea typeface="Yu Gothic UI"/>
                        <a:cs typeface="+mn-cs"/>
                      </a:endParaRP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mn-lt"/>
                          <a:ea typeface="+mn-ea"/>
                          <a:cs typeface="+mn-cs"/>
                        </a:rPr>
                        <a:t>△（</a:t>
                      </a:r>
                      <a:r>
                        <a:rPr kumimoji="1" lang="ja-JP" altLang="en-US" sz="700" b="0" i="0" u="none" strike="noStrike" kern="1200" cap="none" spc="0" normalizeH="0" baseline="0" noProof="0">
                          <a:ln>
                            <a:noFill/>
                          </a:ln>
                          <a:solidFill>
                            <a:schemeClr val="tx1"/>
                          </a:solidFill>
                          <a:effectLst/>
                          <a:uLnTx/>
                          <a:uFillTx/>
                          <a:latin typeface="+mn-lt"/>
                          <a:ea typeface="+mn-ea"/>
                          <a:cs typeface="+mn-cs"/>
                        </a:rPr>
                        <a:t>削除</a:t>
                      </a:r>
                      <a:r>
                        <a:rPr kumimoji="1" lang="ja-JP" altLang="en-US" sz="700" b="0">
                          <a:solidFill>
                            <a:schemeClr val="tx1"/>
                          </a:solidFill>
                        </a:rPr>
                        <a:t>権限</a:t>
                      </a:r>
                      <a:r>
                        <a:rPr kumimoji="1" lang="ja-JP" altLang="en-US" sz="700" b="0" i="0" u="none" strike="noStrike" kern="1200" cap="none" spc="0" normalizeH="0" baseline="0" noProof="0">
                          <a:ln>
                            <a:noFill/>
                          </a:ln>
                          <a:solidFill>
                            <a:prstClr val="black"/>
                          </a:solidFill>
                          <a:effectLst/>
                          <a:uLnTx/>
                          <a:uFillTx/>
                          <a:latin typeface="+mn-lt"/>
                          <a:ea typeface="+mn-ea"/>
                          <a:cs typeface="+mn-cs"/>
                        </a:rPr>
                        <a:t>がありの場合のみ可能）</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069505337"/>
                  </a:ext>
                </a:extLst>
              </a:tr>
              <a:tr h="271114">
                <a:tc>
                  <a:txBody>
                    <a:bodyPr/>
                    <a:lstStyle/>
                    <a:p>
                      <a:pPr algn="l" fontAlgn="t"/>
                      <a:r>
                        <a:rPr lang="ja-JP" altLang="en-US" sz="1100" b="1" i="0" u="none" strike="noStrike">
                          <a:solidFill>
                            <a:schemeClr val="bg1"/>
                          </a:solidFill>
                          <a:effectLst/>
                          <a:latin typeface="+mn-ea"/>
                          <a:ea typeface="+mn-ea"/>
                        </a:rPr>
                        <a:t>文書閲覧</a:t>
                      </a:r>
                    </a:p>
                  </a:txBody>
                  <a:tcPr marL="72000" marR="9525" marT="9525" marB="0">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kumimoji="1" lang="ja-JP" altLang="en-US" sz="700" b="0"/>
                        <a:t>△（文書種類の権限に応じた閲覧のみ可能）</a:t>
                      </a:r>
                      <a:endParaRPr kumimoji="1" lang="en-US" altLang="ja-JP" sz="700" b="0"/>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kumimoji="1" lang="ja-JP" altLang="en-US" sz="700" b="0"/>
                        <a:t>△（文書種類の権限に応じた閲覧のみ可能）</a:t>
                      </a:r>
                      <a:endParaRPr kumimoji="1" lang="en-US" altLang="ja-JP" sz="700" b="0"/>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46018089"/>
                  </a:ext>
                </a:extLst>
              </a:tr>
              <a:tr h="271114">
                <a:tc>
                  <a:txBody>
                    <a:bodyPr/>
                    <a:lstStyle/>
                    <a:p>
                      <a:pPr algn="l" fontAlgn="t"/>
                      <a:r>
                        <a:rPr lang="ja-JP" altLang="en-US" sz="1100" b="1" i="0" u="none" strike="noStrike">
                          <a:solidFill>
                            <a:schemeClr val="bg1"/>
                          </a:solidFill>
                          <a:effectLst/>
                          <a:latin typeface="+mn-ea"/>
                          <a:ea typeface="+mn-ea"/>
                        </a:rPr>
                        <a:t>承認ルート設定</a:t>
                      </a:r>
                    </a:p>
                  </a:txBody>
                  <a:tcPr marL="72000" marR="9525" marT="9525" marB="0">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kumimoji="1" lang="ja-JP" altLang="en-US" sz="700" b="0"/>
                        <a:t>〇</a:t>
                      </a:r>
                      <a:endParaRPr kumimoji="1" lang="en-US" altLang="ja-JP" sz="700" b="0"/>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kumimoji="1" lang="ja-JP" altLang="en-US" sz="700" b="0"/>
                        <a:t>〇</a:t>
                      </a:r>
                      <a:endParaRPr kumimoji="1" lang="en-US" altLang="ja-JP" sz="700" b="0"/>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527074975"/>
                  </a:ext>
                </a:extLst>
              </a:tr>
              <a:tr h="271114">
                <a:tc>
                  <a:txBody>
                    <a:bodyPr/>
                    <a:lstStyle/>
                    <a:p>
                      <a:pPr algn="l" fontAlgn="t"/>
                      <a:r>
                        <a:rPr lang="ja-JP" altLang="en-US" sz="1100" b="1" i="0" u="none" strike="noStrike">
                          <a:solidFill>
                            <a:schemeClr val="bg1"/>
                          </a:solidFill>
                          <a:effectLst/>
                          <a:latin typeface="+mn-ea"/>
                          <a:ea typeface="+mn-ea"/>
                        </a:rPr>
                        <a:t>承認差戻</a:t>
                      </a:r>
                    </a:p>
                  </a:txBody>
                  <a:tcPr marL="72000" marR="9525" marT="9525" marB="0">
                    <a:lnT w="28575" cap="flat" cmpd="sng" algn="ctr">
                      <a:solidFill>
                        <a:schemeClr val="bg1"/>
                      </a:solidFill>
                      <a:prstDash val="solid"/>
                      <a:round/>
                      <a:headEnd type="none" w="med" len="med"/>
                      <a:tailEnd type="none" w="med" len="med"/>
                    </a:lnT>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ルート進捗状況に応じた差戻のみ可能）</a:t>
                      </a:r>
                      <a:endParaRPr kumimoji="1" lang="en-US" altLang="ja-JP" sz="700" b="0" i="0" u="none" strike="noStrike" kern="1200" cap="none" spc="0" normalizeH="0" baseline="0" noProof="0">
                        <a:ln>
                          <a:noFill/>
                        </a:ln>
                        <a:solidFill>
                          <a:prstClr val="black"/>
                        </a:solidFill>
                        <a:effectLst/>
                        <a:uLnTx/>
                        <a:uFillTx/>
                        <a:latin typeface="Yu Gothic UI"/>
                        <a:ea typeface="Yu Gothic UI"/>
                        <a:cs typeface="+mn-cs"/>
                      </a:endParaRPr>
                    </a:p>
                  </a:txBody>
                  <a:tcPr anchor="ctr">
                    <a:lnT w="28575" cap="flat" cmpd="sng" algn="ctr">
                      <a:solidFill>
                        <a:schemeClr val="bg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ルート進捗状況に応じた差戻のみ可能）</a:t>
                      </a:r>
                      <a:endParaRPr kumimoji="1" lang="en-US" altLang="ja-JP" sz="700" b="0" i="0" u="none" strike="noStrike" kern="1200" cap="none" spc="0" normalizeH="0" baseline="0" noProof="0">
                        <a:ln>
                          <a:noFill/>
                        </a:ln>
                        <a:solidFill>
                          <a:prstClr val="black"/>
                        </a:solidFill>
                        <a:effectLst/>
                        <a:uLnTx/>
                        <a:uFillTx/>
                        <a:latin typeface="Yu Gothic UI"/>
                        <a:ea typeface="Yu Gothic UI"/>
                        <a:cs typeface="+mn-cs"/>
                      </a:endParaRPr>
                    </a:p>
                  </a:txBody>
                  <a:tcPr anchor="ctr">
                    <a:lnT w="28575" cap="flat" cmpd="sng" algn="ctr">
                      <a:solidFill>
                        <a:schemeClr val="bg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lnT w="28575" cap="flat" cmpd="sng" algn="ctr">
                      <a:solidFill>
                        <a:schemeClr val="bg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lnT w="2857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335625165"/>
                  </a:ext>
                </a:extLst>
              </a:tr>
              <a:tr h="271114">
                <a:tc>
                  <a:txBody>
                    <a:bodyPr/>
                    <a:lstStyle/>
                    <a:p>
                      <a:pPr algn="l" fontAlgn="t"/>
                      <a:r>
                        <a:rPr lang="ja-JP" altLang="en-US" sz="1100" b="1" i="0" u="none" strike="noStrike">
                          <a:solidFill>
                            <a:schemeClr val="bg1"/>
                          </a:solidFill>
                          <a:effectLst/>
                          <a:latin typeface="+mn-ea"/>
                          <a:ea typeface="+mn-ea"/>
                        </a:rPr>
                        <a:t>承認クリア</a:t>
                      </a:r>
                    </a:p>
                  </a:txBody>
                  <a:tcPr marL="72000" marR="9525" marT="9525" marB="0">
                    <a:solidFill>
                      <a:schemeClr val="accent1"/>
                    </a:solidFill>
                  </a:tcPr>
                </a:tc>
                <a:tc>
                  <a:txBody>
                    <a:bodyPr/>
                    <a:lstStyle/>
                    <a:p>
                      <a:pPr algn="ctr"/>
                      <a:r>
                        <a:rPr kumimoji="1" lang="ja-JP" altLang="en-US" sz="700" b="0">
                          <a:solidFill>
                            <a:schemeClr val="tx1"/>
                          </a:solidFill>
                        </a:rPr>
                        <a:t>✕</a:t>
                      </a:r>
                      <a:endParaRPr kumimoji="1" lang="en-US" altLang="ja-JP" sz="700" b="0">
                        <a:solidFill>
                          <a:schemeClr val="tx1"/>
                        </a:solidFill>
                      </a:endParaRPr>
                    </a:p>
                  </a:txBody>
                  <a:tcPr anchor="ctr"/>
                </a:tc>
                <a:tc>
                  <a:txBody>
                    <a:bodyPr/>
                    <a:lstStyle/>
                    <a:p>
                      <a:pPr algn="ctr"/>
                      <a:r>
                        <a:rPr kumimoji="1" lang="ja-JP" altLang="en-US" sz="700" b="0">
                          <a:solidFill>
                            <a:schemeClr val="tx1"/>
                          </a:solidFill>
                        </a:rPr>
                        <a:t>✕</a:t>
                      </a:r>
                      <a:endParaRPr kumimoji="1" lang="en-US" altLang="ja-JP" sz="700" b="0">
                        <a:solidFill>
                          <a:schemeClr val="tx1"/>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a:t>
                      </a:r>
                      <a:r>
                        <a:rPr kumimoji="1" lang="ja-JP" altLang="en-US" sz="700" b="0">
                          <a:solidFill>
                            <a:schemeClr val="tx1"/>
                          </a:solidFill>
                        </a:rPr>
                        <a:t>承認却下権限</a:t>
                      </a: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がありの場合のみ可能）</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tc>
                <a:extLst>
                  <a:ext uri="{0D108BD9-81ED-4DB2-BD59-A6C34878D82A}">
                    <a16:rowId xmlns:a16="http://schemas.microsoft.com/office/drawing/2014/main" val="1724282255"/>
                  </a:ext>
                </a:extLst>
              </a:tr>
              <a:tr h="271114">
                <a:tc>
                  <a:txBody>
                    <a:bodyPr/>
                    <a:lstStyle/>
                    <a:p>
                      <a:pPr algn="l" fontAlgn="t"/>
                      <a:r>
                        <a:rPr lang="ja-JP" altLang="en-US" sz="1100" b="1" i="0" u="none" strike="noStrike">
                          <a:solidFill>
                            <a:schemeClr val="bg1"/>
                          </a:solidFill>
                          <a:effectLst/>
                          <a:latin typeface="+mn-ea"/>
                          <a:ea typeface="+mn-ea"/>
                        </a:rPr>
                        <a:t>マスタ作成・登録</a:t>
                      </a:r>
                    </a:p>
                  </a:txBody>
                  <a:tcPr marL="72000" marR="9525" marT="9525" marB="0">
                    <a:solidFill>
                      <a:schemeClr val="accent1"/>
                    </a:solidFill>
                  </a:tcPr>
                </a:tc>
                <a:tc>
                  <a:txBody>
                    <a:bodyPr/>
                    <a:lstStyle/>
                    <a:p>
                      <a:pPr algn="ctr"/>
                      <a:r>
                        <a:rPr kumimoji="1" lang="ja-JP" altLang="en-US" sz="700" b="0"/>
                        <a:t>△（運用で決定した人のみ可能）</a:t>
                      </a:r>
                    </a:p>
                  </a:txBody>
                  <a:tcPr anchor="ctr"/>
                </a:tc>
                <a:tc>
                  <a:txBody>
                    <a:bodyPr/>
                    <a:lstStyle/>
                    <a:p>
                      <a:pPr algn="ctr"/>
                      <a:r>
                        <a:rPr kumimoji="1" lang="ja-JP" altLang="en-US" sz="700" b="0"/>
                        <a:t>△（運用で決定した人のみ可能）</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a:solidFill>
                            <a:schemeClr val="tx1"/>
                          </a:solidFill>
                        </a:rPr>
                        <a:t>〇</a:t>
                      </a:r>
                      <a:endParaRPr kumimoji="1" lang="ja-JP" altLang="en-US" sz="700" b="0" i="0" u="none" strike="noStrike" kern="1200" cap="none" spc="0" normalizeH="0" baseline="0" noProof="0">
                        <a:ln>
                          <a:noFill/>
                        </a:ln>
                        <a:solidFill>
                          <a:prstClr val="black"/>
                        </a:solidFill>
                        <a:effectLst/>
                        <a:uLnTx/>
                        <a:uFillTx/>
                        <a:latin typeface="Yu Gothic UI"/>
                        <a:ea typeface="Yu Gothic UI"/>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a:solidFill>
                            <a:schemeClr val="tx1"/>
                          </a:solidFill>
                        </a:rPr>
                        <a:t>〇</a:t>
                      </a:r>
                      <a:endParaRPr kumimoji="1" lang="ja-JP" altLang="en-US" sz="700" b="0" i="0" u="none" strike="noStrike" kern="1200" cap="none" spc="0" normalizeH="0" baseline="0" noProof="0">
                        <a:ln>
                          <a:noFill/>
                        </a:ln>
                        <a:solidFill>
                          <a:prstClr val="black"/>
                        </a:solidFill>
                        <a:effectLst/>
                        <a:uLnTx/>
                        <a:uFillTx/>
                        <a:latin typeface="Yu Gothic UI"/>
                        <a:ea typeface="Yu Gothic UI"/>
                        <a:cs typeface="+mn-cs"/>
                      </a:endParaRPr>
                    </a:p>
                  </a:txBody>
                  <a:tcPr anchor="ctr"/>
                </a:tc>
                <a:extLst>
                  <a:ext uri="{0D108BD9-81ED-4DB2-BD59-A6C34878D82A}">
                    <a16:rowId xmlns:a16="http://schemas.microsoft.com/office/drawing/2014/main" val="548559997"/>
                  </a:ext>
                </a:extLst>
              </a:tr>
              <a:tr h="271114">
                <a:tc>
                  <a:txBody>
                    <a:bodyPr/>
                    <a:lstStyle/>
                    <a:p>
                      <a:pPr algn="l" fontAlgn="t"/>
                      <a:r>
                        <a:rPr lang="ja-JP" altLang="en-US" sz="1100" b="1" i="0" u="none" strike="noStrike">
                          <a:solidFill>
                            <a:schemeClr val="bg1"/>
                          </a:solidFill>
                          <a:effectLst/>
                          <a:latin typeface="+mn-ea"/>
                          <a:ea typeface="+mn-ea"/>
                        </a:rPr>
                        <a:t>マスタ削除</a:t>
                      </a:r>
                    </a:p>
                  </a:txBody>
                  <a:tcPr marL="72000" marR="9525" marT="9525" marB="0">
                    <a:solidFill>
                      <a:schemeClr val="accent1"/>
                    </a:solidFill>
                  </a:tcPr>
                </a:tc>
                <a:tc>
                  <a:txBody>
                    <a:bodyPr/>
                    <a:lstStyle/>
                    <a:p>
                      <a:pPr algn="ctr"/>
                      <a:r>
                        <a:rPr kumimoji="1" lang="ja-JP" altLang="en-US" sz="700" b="0">
                          <a:solidFill>
                            <a:schemeClr val="tx1"/>
                          </a:solidFill>
                        </a:rPr>
                        <a:t>✕</a:t>
                      </a:r>
                      <a:endParaRPr kumimoji="1" lang="en-US" altLang="ja-JP" sz="700" b="0">
                        <a:solidFill>
                          <a:schemeClr val="tx1"/>
                        </a:solidFill>
                      </a:endParaRPr>
                    </a:p>
                  </a:txBody>
                  <a:tcPr anchor="ctr"/>
                </a:tc>
                <a:tc>
                  <a:txBody>
                    <a:bodyPr/>
                    <a:lstStyle/>
                    <a:p>
                      <a:pPr algn="ctr"/>
                      <a:r>
                        <a:rPr kumimoji="1" lang="ja-JP" altLang="en-US" sz="700" b="0">
                          <a:solidFill>
                            <a:schemeClr val="tx1"/>
                          </a:solidFill>
                        </a:rPr>
                        <a:t>✕</a:t>
                      </a:r>
                      <a:endParaRPr kumimoji="1" lang="en-US" altLang="ja-JP" sz="700" b="0">
                        <a:solidFill>
                          <a:schemeClr val="tx1"/>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mn-lt"/>
                          <a:ea typeface="+mn-ea"/>
                          <a:cs typeface="+mn-cs"/>
                        </a:rPr>
                        <a:t>△（</a:t>
                      </a:r>
                      <a:r>
                        <a:rPr kumimoji="1" lang="ja-JP" altLang="en-US" sz="700" b="0" i="0" u="none" strike="noStrike" kern="1200" cap="none" spc="0" normalizeH="0" baseline="0" noProof="0">
                          <a:ln>
                            <a:noFill/>
                          </a:ln>
                          <a:solidFill>
                            <a:schemeClr val="tx1"/>
                          </a:solidFill>
                          <a:effectLst/>
                          <a:uLnTx/>
                          <a:uFillTx/>
                          <a:latin typeface="+mn-lt"/>
                          <a:ea typeface="+mn-ea"/>
                          <a:cs typeface="+mn-cs"/>
                        </a:rPr>
                        <a:t>削除</a:t>
                      </a:r>
                      <a:r>
                        <a:rPr kumimoji="1" lang="ja-JP" altLang="en-US" sz="700" b="0">
                          <a:solidFill>
                            <a:schemeClr val="tx1"/>
                          </a:solidFill>
                        </a:rPr>
                        <a:t>権限</a:t>
                      </a:r>
                      <a:r>
                        <a:rPr kumimoji="1" lang="ja-JP" altLang="en-US" sz="700" b="0" i="0" u="none" strike="noStrike" kern="1200" cap="none" spc="0" normalizeH="0" baseline="0" noProof="0">
                          <a:ln>
                            <a:noFill/>
                          </a:ln>
                          <a:solidFill>
                            <a:prstClr val="black"/>
                          </a:solidFill>
                          <a:effectLst/>
                          <a:uLnTx/>
                          <a:uFillTx/>
                          <a:latin typeface="+mn-lt"/>
                          <a:ea typeface="+mn-ea"/>
                          <a:cs typeface="+mn-cs"/>
                        </a:rPr>
                        <a:t>がありの場合のみ可能）</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tc>
                <a:extLst>
                  <a:ext uri="{0D108BD9-81ED-4DB2-BD59-A6C34878D82A}">
                    <a16:rowId xmlns:a16="http://schemas.microsoft.com/office/drawing/2014/main" val="233517887"/>
                  </a:ext>
                </a:extLst>
              </a:tr>
              <a:tr h="271114">
                <a:tc>
                  <a:txBody>
                    <a:bodyPr/>
                    <a:lstStyle/>
                    <a:p>
                      <a:pPr algn="l" fontAlgn="t"/>
                      <a:r>
                        <a:rPr lang="ja-JP" altLang="en-US" sz="1100" b="1" i="0" u="none" strike="noStrike">
                          <a:solidFill>
                            <a:schemeClr val="bg1"/>
                          </a:solidFill>
                          <a:effectLst/>
                          <a:latin typeface="+mn-ea"/>
                          <a:ea typeface="+mn-ea"/>
                        </a:rPr>
                        <a:t>マスタ編集</a:t>
                      </a:r>
                    </a:p>
                  </a:txBody>
                  <a:tcPr marL="72000" marR="9525" marT="9525" marB="0">
                    <a:solidFill>
                      <a:schemeClr val="accent1"/>
                    </a:solidFill>
                  </a:tcPr>
                </a:tc>
                <a:tc>
                  <a:txBody>
                    <a:bodyPr/>
                    <a:lstStyle/>
                    <a:p>
                      <a:pPr algn="ctr"/>
                      <a:r>
                        <a:rPr kumimoji="1" lang="ja-JP" altLang="en-US" sz="700" b="0"/>
                        <a:t>△（運用で決定した人のみ可能）</a:t>
                      </a:r>
                    </a:p>
                  </a:txBody>
                  <a:tcPr anchor="ctr"/>
                </a:tc>
                <a:tc>
                  <a:txBody>
                    <a:bodyPr/>
                    <a:lstStyle/>
                    <a:p>
                      <a:pPr algn="ctr"/>
                      <a:r>
                        <a:rPr kumimoji="1" lang="ja-JP" altLang="en-US" sz="700" b="0"/>
                        <a:t>△（運用で決定した人のみ可能）</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mn-lt"/>
                          <a:ea typeface="+mn-ea"/>
                          <a:cs typeface="+mn-cs"/>
                        </a:rPr>
                        <a:t>〇</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tc>
                <a:extLst>
                  <a:ext uri="{0D108BD9-81ED-4DB2-BD59-A6C34878D82A}">
                    <a16:rowId xmlns:a16="http://schemas.microsoft.com/office/drawing/2014/main" val="3664165650"/>
                  </a:ext>
                </a:extLst>
              </a:tr>
              <a:tr h="271114">
                <a:tc>
                  <a:txBody>
                    <a:bodyPr/>
                    <a:lstStyle/>
                    <a:p>
                      <a:pPr algn="l" fontAlgn="t"/>
                      <a:r>
                        <a:rPr lang="zh-TW" altLang="en-US" sz="1100" b="1" i="0" u="none" strike="noStrike">
                          <a:solidFill>
                            <a:schemeClr val="bg1"/>
                          </a:solidFill>
                          <a:effectLst/>
                          <a:latin typeface="+mn-ea"/>
                          <a:ea typeface="+mn-ea"/>
                        </a:rPr>
                        <a:t>項目一括更新</a:t>
                      </a:r>
                    </a:p>
                  </a:txBody>
                  <a:tcPr marL="72000" marR="9525" marT="9525" marB="0">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a:t>
                      </a:r>
                      <a:endParaRPr kumimoji="1" lang="en-US" altLang="ja-JP" sz="700" b="0" i="0" u="none" strike="noStrike" kern="1200" cap="none" spc="0" normalizeH="0" baseline="0" noProof="0">
                        <a:ln>
                          <a:noFill/>
                        </a:ln>
                        <a:solidFill>
                          <a:prstClr val="black"/>
                        </a:solidFill>
                        <a:effectLst/>
                        <a:uLnTx/>
                        <a:uFillTx/>
                        <a:latin typeface="Yu Gothic UI"/>
                        <a:ea typeface="Yu Gothic UI"/>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a:t>
                      </a:r>
                      <a:endParaRPr kumimoji="1" lang="en-US" altLang="ja-JP" sz="700" b="0" i="0" u="none" strike="noStrike" kern="1200" cap="none" spc="0" normalizeH="0" baseline="0" noProof="0">
                        <a:ln>
                          <a:noFill/>
                        </a:ln>
                        <a:solidFill>
                          <a:prstClr val="black"/>
                        </a:solidFill>
                        <a:effectLst/>
                        <a:uLnTx/>
                        <a:uFillTx/>
                        <a:latin typeface="Yu Gothic UI"/>
                        <a:ea typeface="Yu Gothic UI"/>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tc>
                <a:extLst>
                  <a:ext uri="{0D108BD9-81ED-4DB2-BD59-A6C34878D82A}">
                    <a16:rowId xmlns:a16="http://schemas.microsoft.com/office/drawing/2014/main" val="2072997514"/>
                  </a:ext>
                </a:extLst>
              </a:tr>
              <a:tr h="271114">
                <a:tc>
                  <a:txBody>
                    <a:bodyPr/>
                    <a:lstStyle/>
                    <a:p>
                      <a:pPr algn="l" fontAlgn="t"/>
                      <a:r>
                        <a:rPr lang="zh-TW" altLang="en-US" sz="1100" b="1" i="0" u="none" strike="noStrike">
                          <a:solidFill>
                            <a:schemeClr val="bg1"/>
                          </a:solidFill>
                          <a:effectLst/>
                          <a:latin typeface="+mn-ea"/>
                          <a:ea typeface="+mn-ea"/>
                        </a:rPr>
                        <a:t>顧客情報変更</a:t>
                      </a:r>
                    </a:p>
                  </a:txBody>
                  <a:tcPr marL="72000" marR="9525" marT="9525" marB="0">
                    <a:solidFill>
                      <a:schemeClr val="accent1"/>
                    </a:solidFill>
                  </a:tcPr>
                </a:tc>
                <a:tc>
                  <a:txBody>
                    <a:bodyPr/>
                    <a:lstStyle/>
                    <a:p>
                      <a:pPr algn="ctr"/>
                      <a:r>
                        <a:rPr kumimoji="1" lang="ja-JP" altLang="en-US" sz="700" b="0"/>
                        <a:t>✕</a:t>
                      </a:r>
                    </a:p>
                  </a:txBody>
                  <a:tcPr anchor="ctr"/>
                </a:tc>
                <a:tc>
                  <a:txBody>
                    <a:bodyPr/>
                    <a:lstStyle/>
                    <a:p>
                      <a:pPr algn="ctr"/>
                      <a:r>
                        <a:rPr kumimoji="1" lang="ja-JP" altLang="en-US" sz="700" b="0">
                          <a:solidFill>
                            <a:schemeClr val="tx1"/>
                          </a:solidFill>
                        </a:rPr>
                        <a:t>✕</a:t>
                      </a:r>
                      <a:endParaRPr kumimoji="1" lang="en-US" altLang="ja-JP" sz="700" b="0">
                        <a:solidFill>
                          <a:schemeClr val="tx1"/>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a:t>
                      </a:r>
                      <a:r>
                        <a:rPr kumimoji="1" lang="ja-JP" altLang="en-US" sz="700" b="0">
                          <a:solidFill>
                            <a:schemeClr val="tx1"/>
                          </a:solidFill>
                        </a:rPr>
                        <a:t>顧客情報変更権限</a:t>
                      </a: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がありの場合のみ可能</a:t>
                      </a:r>
                      <a:r>
                        <a:rPr kumimoji="1" lang="en-US" altLang="ja-JP" sz="700" b="0" i="0" u="none" strike="noStrike" kern="1200" cap="none" spc="0" normalizeH="0" baseline="0" noProof="0">
                          <a:ln>
                            <a:noFill/>
                          </a:ln>
                          <a:solidFill>
                            <a:prstClr val="black"/>
                          </a:solidFill>
                          <a:effectLst/>
                          <a:uLnTx/>
                          <a:uFillTx/>
                          <a:latin typeface="Yu Gothic UI"/>
                          <a:ea typeface="Yu Gothic UI"/>
                          <a:cs typeface="+mn-cs"/>
                        </a:rPr>
                        <a:t>)</a:t>
                      </a:r>
                      <a:endParaRPr kumimoji="1" lang="ja-JP" altLang="en-US" sz="700" b="0" i="0" u="none" strike="noStrike" kern="1200" cap="none" spc="0" normalizeH="0" baseline="0" noProof="0">
                        <a:ln>
                          <a:noFill/>
                        </a:ln>
                        <a:solidFill>
                          <a:prstClr val="black"/>
                        </a:solidFill>
                        <a:effectLst/>
                        <a:uLnTx/>
                        <a:uFillTx/>
                        <a:latin typeface="Yu Gothic UI"/>
                        <a:ea typeface="Yu Gothic UI"/>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tc>
                <a:extLst>
                  <a:ext uri="{0D108BD9-81ED-4DB2-BD59-A6C34878D82A}">
                    <a16:rowId xmlns:a16="http://schemas.microsoft.com/office/drawing/2014/main" val="2895123498"/>
                  </a:ext>
                </a:extLst>
              </a:tr>
              <a:tr h="271114">
                <a:tc>
                  <a:txBody>
                    <a:bodyPr/>
                    <a:lstStyle/>
                    <a:p>
                      <a:pPr algn="l" fontAlgn="t"/>
                      <a:r>
                        <a:rPr lang="ja-JP" altLang="en-US" sz="1100" b="1" i="0" u="none" strike="noStrike">
                          <a:solidFill>
                            <a:schemeClr val="bg1"/>
                          </a:solidFill>
                          <a:effectLst/>
                          <a:latin typeface="+mn-ea"/>
                          <a:ea typeface="+mn-ea"/>
                        </a:rPr>
                        <a:t>外部出力</a:t>
                      </a:r>
                    </a:p>
                  </a:txBody>
                  <a:tcPr marL="72000" marR="9525" marT="9525" marB="0">
                    <a:solidFill>
                      <a:schemeClr val="accent1"/>
                    </a:solidFill>
                  </a:tcPr>
                </a:tc>
                <a:tc>
                  <a:txBody>
                    <a:bodyPr/>
                    <a:lstStyle/>
                    <a:p>
                      <a:pPr algn="ctr"/>
                      <a:r>
                        <a:rPr kumimoji="1" lang="ja-JP" altLang="en-US" sz="700" b="0">
                          <a:solidFill>
                            <a:schemeClr val="tx1"/>
                          </a:solidFill>
                        </a:rPr>
                        <a:t>〇</a:t>
                      </a:r>
                      <a:endParaRPr kumimoji="1" lang="en-US" altLang="ja-JP" sz="700" b="0">
                        <a:solidFill>
                          <a:schemeClr val="tx1"/>
                        </a:solidFill>
                      </a:endParaRPr>
                    </a:p>
                  </a:txBody>
                  <a:tcPr anchor="ctr"/>
                </a:tc>
                <a:tc>
                  <a:txBody>
                    <a:bodyPr/>
                    <a:lstStyle/>
                    <a:p>
                      <a:pPr algn="ctr"/>
                      <a:r>
                        <a:rPr kumimoji="1" lang="ja-JP" altLang="en-US" sz="700" b="0">
                          <a:solidFill>
                            <a:schemeClr val="tx1"/>
                          </a:solidFill>
                        </a:rPr>
                        <a:t>〇</a:t>
                      </a:r>
                      <a:endParaRPr kumimoji="1" lang="en-US" altLang="ja-JP" sz="700" b="0">
                        <a:solidFill>
                          <a:schemeClr val="tx1"/>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tc>
                <a:extLst>
                  <a:ext uri="{0D108BD9-81ED-4DB2-BD59-A6C34878D82A}">
                    <a16:rowId xmlns:a16="http://schemas.microsoft.com/office/drawing/2014/main" val="2268938027"/>
                  </a:ext>
                </a:extLst>
              </a:tr>
              <a:tr h="271114">
                <a:tc>
                  <a:txBody>
                    <a:bodyPr/>
                    <a:lstStyle/>
                    <a:p>
                      <a:pPr algn="l" fontAlgn="t"/>
                      <a:r>
                        <a:rPr lang="ja-JP" altLang="en-US" sz="1100" b="1" i="0" u="none" strike="noStrike">
                          <a:solidFill>
                            <a:schemeClr val="bg1"/>
                          </a:solidFill>
                          <a:effectLst/>
                          <a:latin typeface="+mn-ea"/>
                          <a:ea typeface="+mn-ea"/>
                        </a:rPr>
                        <a:t>通知メール</a:t>
                      </a:r>
                      <a:endParaRPr lang="en-US" altLang="ja-JP" sz="1100" b="1" i="0" u="none" strike="noStrike">
                        <a:solidFill>
                          <a:schemeClr val="bg1"/>
                        </a:solidFill>
                        <a:effectLst/>
                        <a:latin typeface="+mn-ea"/>
                        <a:ea typeface="+mn-ea"/>
                      </a:endParaRPr>
                    </a:p>
                  </a:txBody>
                  <a:tcPr marL="72000" marR="9525" marT="9525" marB="0">
                    <a:solidFill>
                      <a:schemeClr val="accent1"/>
                    </a:solidFill>
                  </a:tcPr>
                </a:tc>
                <a:tc>
                  <a:txBody>
                    <a:bodyPr/>
                    <a:lstStyle/>
                    <a:p>
                      <a:pPr algn="ct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endParaRPr kumimoji="1" lang="en-US" altLang="ja-JP" sz="700" b="0">
                        <a:solidFill>
                          <a:schemeClr val="tx1"/>
                        </a:solidFill>
                      </a:endParaRPr>
                    </a:p>
                  </a:txBody>
                  <a:tcPr anchor="ctr"/>
                </a:tc>
                <a:tc>
                  <a:txBody>
                    <a:bodyPr/>
                    <a:lstStyle/>
                    <a:p>
                      <a:pPr algn="ct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endParaRPr kumimoji="1" lang="en-US" altLang="ja-JP" sz="700" b="0">
                        <a:solidFill>
                          <a:schemeClr val="tx1"/>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tc>
                <a:extLst>
                  <a:ext uri="{0D108BD9-81ED-4DB2-BD59-A6C34878D82A}">
                    <a16:rowId xmlns:a16="http://schemas.microsoft.com/office/drawing/2014/main" val="1176462034"/>
                  </a:ext>
                </a:extLst>
              </a:tr>
              <a:tr h="271114">
                <a:tc>
                  <a:txBody>
                    <a:bodyPr/>
                    <a:lstStyle/>
                    <a:p>
                      <a:pPr algn="l" fontAlgn="t"/>
                      <a:r>
                        <a:rPr lang="ja-JP" altLang="en-US" sz="1100" b="1" i="0" u="none" strike="noStrike">
                          <a:solidFill>
                            <a:schemeClr val="bg1"/>
                          </a:solidFill>
                          <a:effectLst/>
                          <a:latin typeface="+mn-ea"/>
                          <a:ea typeface="+mn-ea"/>
                        </a:rPr>
                        <a:t>バッチ処理</a:t>
                      </a:r>
                    </a:p>
                  </a:txBody>
                  <a:tcPr marL="72000" marR="9525" marT="9525" marB="0">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Yu Gothic UI"/>
                          <a:ea typeface="Yu Gothic UI"/>
                          <a:cs typeface="+mn-cs"/>
                        </a:rPr>
                        <a:t>〇</a:t>
                      </a:r>
                    </a:p>
                  </a:txBody>
                  <a:tcPr anchor="ctr"/>
                </a:tc>
                <a:extLst>
                  <a:ext uri="{0D108BD9-81ED-4DB2-BD59-A6C34878D82A}">
                    <a16:rowId xmlns:a16="http://schemas.microsoft.com/office/drawing/2014/main" val="2670049121"/>
                  </a:ext>
                </a:extLst>
              </a:tr>
            </a:tbl>
          </a:graphicData>
        </a:graphic>
      </p:graphicFrame>
    </p:spTree>
    <p:extLst>
      <p:ext uri="{BB962C8B-B14F-4D97-AF65-F5344CB8AC3E}">
        <p14:creationId xmlns:p14="http://schemas.microsoft.com/office/powerpoint/2010/main" val="1796616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C1151C2-D06C-D2FC-4C58-330B81DBB6E6}"/>
              </a:ext>
            </a:extLst>
          </p:cNvPr>
          <p:cNvGraphicFramePr>
            <a:graphicFrameLocks noChangeAspect="1"/>
          </p:cNvGraphicFramePr>
          <p:nvPr>
            <p:custDataLst>
              <p:tags r:id="rId1"/>
            </p:custDataLst>
            <p:extLst>
              <p:ext uri="{D42A27DB-BD31-4B8C-83A1-F6EECF244321}">
                <p14:modId xmlns:p14="http://schemas.microsoft.com/office/powerpoint/2010/main" val="2178841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7" name="think-cell data - do not delete" hidden="1">
                        <a:extLst>
                          <a:ext uri="{FF2B5EF4-FFF2-40B4-BE49-F238E27FC236}">
                            <a16:creationId xmlns:a16="http://schemas.microsoft.com/office/drawing/2014/main" id="{BC1151C2-D06C-D2FC-4C58-330B81DBB6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A14F3907-54FE-5F4D-1889-8A755A4D5F91}"/>
              </a:ext>
            </a:extLst>
          </p:cNvPr>
          <p:cNvSpPr>
            <a:spLocks noGrp="1"/>
          </p:cNvSpPr>
          <p:nvPr>
            <p:ph type="sldNum" sz="quarter" idx="12"/>
          </p:nvPr>
        </p:nvSpPr>
        <p:spPr/>
        <p:txBody>
          <a:bodyPr/>
          <a:lstStyle/>
          <a:p>
            <a:fld id="{98139188-682B-46B8-8E3A-C32D863D2EEC}" type="slidenum">
              <a:rPr lang="ja-JP" altLang="en-US" smtClean="0"/>
              <a:pPr/>
              <a:t>46</a:t>
            </a:fld>
            <a:endParaRPr lang="ja-JP" altLang="en-US"/>
          </a:p>
        </p:txBody>
      </p:sp>
      <p:sp>
        <p:nvSpPr>
          <p:cNvPr id="3" name="テキスト プレースホルダー 2">
            <a:extLst>
              <a:ext uri="{FF2B5EF4-FFF2-40B4-BE49-F238E27FC236}">
                <a16:creationId xmlns:a16="http://schemas.microsoft.com/office/drawing/2014/main" id="{1E34451F-92DA-79B3-D1F0-D2B52A45005B}"/>
              </a:ext>
            </a:extLst>
          </p:cNvPr>
          <p:cNvSpPr>
            <a:spLocks noGrp="1"/>
          </p:cNvSpPr>
          <p:nvPr>
            <p:ph type="body" sz="quarter" idx="13"/>
          </p:nvPr>
        </p:nvSpPr>
        <p:spPr/>
        <p:txBody>
          <a:bodyPr>
            <a:normAutofit/>
          </a:bodyPr>
          <a:lstStyle/>
          <a:p>
            <a:pPr marL="0" indent="0">
              <a:buNone/>
            </a:pPr>
            <a:r>
              <a:rPr kumimoji="1" lang="en-US" altLang="ja-JP" sz="1800"/>
              <a:t>(1) </a:t>
            </a:r>
            <a:r>
              <a:rPr kumimoji="1" lang="ja-JP" altLang="en-US" sz="1800"/>
              <a:t>可用性</a:t>
            </a:r>
          </a:p>
          <a:p>
            <a:pPr lvl="1">
              <a:buFont typeface="Yu Gothic UI" panose="020B0500000000000000" pitchFamily="50" charset="-128"/>
              <a:buChar char="–"/>
            </a:pPr>
            <a:r>
              <a:rPr kumimoji="1" lang="ja-JP" altLang="en-US" sz="1600"/>
              <a:t>運用時間：</a:t>
            </a:r>
            <a:r>
              <a:rPr kumimoji="1" lang="en-US" altLang="ja-JP" sz="1600"/>
              <a:t>24</a:t>
            </a:r>
            <a:r>
              <a:rPr kumimoji="1" lang="ja-JP" altLang="en-US" sz="1600"/>
              <a:t>時間</a:t>
            </a:r>
            <a:r>
              <a:rPr kumimoji="1" lang="en-US" altLang="ja-JP" sz="1600"/>
              <a:t>365</a:t>
            </a:r>
            <a:r>
              <a:rPr kumimoji="1" lang="ja-JP" altLang="en-US" sz="1600"/>
              <a:t>日とする。</a:t>
            </a:r>
          </a:p>
          <a:p>
            <a:pPr lvl="1">
              <a:buFont typeface="Yu Gothic UI" panose="020B0500000000000000" pitchFamily="50" charset="-128"/>
              <a:buChar char="–"/>
            </a:pPr>
            <a:r>
              <a:rPr kumimoji="1" lang="ja-JP" altLang="en-US" sz="1600"/>
              <a:t>計画停止の有無：事前の合意があれば停止は可能とする。</a:t>
            </a:r>
          </a:p>
          <a:p>
            <a:pPr marL="0" indent="0">
              <a:buNone/>
            </a:pPr>
            <a:endParaRPr kumimoji="1" lang="ja-JP" altLang="en-US" sz="1600"/>
          </a:p>
        </p:txBody>
      </p:sp>
      <p:sp>
        <p:nvSpPr>
          <p:cNvPr id="4" name="タイトル 3">
            <a:extLst>
              <a:ext uri="{FF2B5EF4-FFF2-40B4-BE49-F238E27FC236}">
                <a16:creationId xmlns:a16="http://schemas.microsoft.com/office/drawing/2014/main" id="{20240A8E-9B73-AE5A-5D61-C7E42CFDAB6C}"/>
              </a:ext>
            </a:extLst>
          </p:cNvPr>
          <p:cNvSpPr>
            <a:spLocks noGrp="1"/>
          </p:cNvSpPr>
          <p:nvPr>
            <p:ph type="title"/>
          </p:nvPr>
        </p:nvSpPr>
        <p:spPr/>
        <p:txBody>
          <a:bodyPr vert="horz"/>
          <a:lstStyle/>
          <a:p>
            <a:r>
              <a:rPr lang="ja-JP" altLang="en-US"/>
              <a:t>３．</a:t>
            </a:r>
            <a:r>
              <a:rPr kumimoji="1" lang="ja-JP" altLang="en-US"/>
              <a:t>非機能要件 </a:t>
            </a:r>
          </a:p>
        </p:txBody>
      </p:sp>
    </p:spTree>
    <p:extLst>
      <p:ext uri="{BB962C8B-B14F-4D97-AF65-F5344CB8AC3E}">
        <p14:creationId xmlns:p14="http://schemas.microsoft.com/office/powerpoint/2010/main" val="39247308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A14F3907-54FE-5F4D-1889-8A755A4D5F91}"/>
              </a:ext>
            </a:extLst>
          </p:cNvPr>
          <p:cNvSpPr>
            <a:spLocks noGrp="1"/>
          </p:cNvSpPr>
          <p:nvPr>
            <p:ph type="sldNum" sz="quarter" idx="12"/>
          </p:nvPr>
        </p:nvSpPr>
        <p:spPr/>
        <p:txBody>
          <a:bodyPr/>
          <a:lstStyle/>
          <a:p>
            <a:fld id="{98139188-682B-46B8-8E3A-C32D863D2EEC}" type="slidenum">
              <a:rPr lang="ja-JP" altLang="en-US" smtClean="0"/>
              <a:pPr/>
              <a:t>47</a:t>
            </a:fld>
            <a:endParaRPr lang="ja-JP" altLang="en-US"/>
          </a:p>
        </p:txBody>
      </p:sp>
      <p:sp>
        <p:nvSpPr>
          <p:cNvPr id="3" name="テキスト プレースホルダー 2">
            <a:extLst>
              <a:ext uri="{FF2B5EF4-FFF2-40B4-BE49-F238E27FC236}">
                <a16:creationId xmlns:a16="http://schemas.microsoft.com/office/drawing/2014/main" id="{1E34451F-92DA-79B3-D1F0-D2B52A45005B}"/>
              </a:ext>
            </a:extLst>
          </p:cNvPr>
          <p:cNvSpPr>
            <a:spLocks noGrp="1"/>
          </p:cNvSpPr>
          <p:nvPr>
            <p:ph type="body" sz="quarter" idx="13"/>
          </p:nvPr>
        </p:nvSpPr>
        <p:spPr/>
        <p:txBody>
          <a:bodyPr>
            <a:normAutofit/>
          </a:bodyPr>
          <a:lstStyle/>
          <a:p>
            <a:pPr marL="0" indent="0">
              <a:buNone/>
            </a:pPr>
            <a:r>
              <a:rPr kumimoji="1" lang="en-US" altLang="ja-JP" sz="1800"/>
              <a:t>(2)</a:t>
            </a:r>
            <a:r>
              <a:rPr kumimoji="1" lang="ja-JP" altLang="en-US" sz="1800"/>
              <a:t>性能・拡張性</a:t>
            </a:r>
          </a:p>
          <a:p>
            <a:pPr lvl="1">
              <a:buFont typeface="Yu Gothic UI" panose="020B0500000000000000" pitchFamily="50" charset="-128"/>
              <a:buChar char="–"/>
            </a:pPr>
            <a:r>
              <a:rPr kumimoji="1" lang="ja-JP" altLang="en-US" sz="1600"/>
              <a:t>ユーザ数：約</a:t>
            </a:r>
            <a:r>
              <a:rPr kumimoji="1" lang="en-US" altLang="ja-JP" sz="1600"/>
              <a:t>10,000</a:t>
            </a:r>
            <a:r>
              <a:rPr kumimoji="1" lang="ja-JP" altLang="en-US" sz="1600"/>
              <a:t>人</a:t>
            </a:r>
          </a:p>
          <a:p>
            <a:pPr lvl="1">
              <a:buFont typeface="Yu Gothic UI" panose="020B0500000000000000" pitchFamily="50" charset="-128"/>
              <a:buChar char="–"/>
            </a:pPr>
            <a:r>
              <a:rPr kumimoji="1" lang="ja-JP" altLang="en-US" sz="1600"/>
              <a:t>同時アクセス数：約</a:t>
            </a:r>
            <a:r>
              <a:rPr kumimoji="1" lang="en-US" altLang="ja-JP" sz="1600"/>
              <a:t>500</a:t>
            </a:r>
            <a:r>
              <a:rPr kumimoji="1" lang="ja-JP" altLang="en-US" sz="1600"/>
              <a:t>人</a:t>
            </a:r>
          </a:p>
          <a:p>
            <a:pPr lvl="1">
              <a:buFont typeface="Yu Gothic UI" panose="020B0500000000000000" pitchFamily="50" charset="-128"/>
              <a:buChar char="–"/>
            </a:pPr>
            <a:r>
              <a:rPr kumimoji="1" lang="ja-JP" altLang="en-US" sz="1600"/>
              <a:t>データ量：「</a:t>
            </a:r>
            <a:r>
              <a:rPr lang="en-US" altLang="ja-JP" sz="1600"/>
              <a:t> 2</a:t>
            </a:r>
            <a:r>
              <a:rPr lang="ja-JP" altLang="en-US" sz="1600"/>
              <a:t>．</a:t>
            </a:r>
            <a:r>
              <a:rPr kumimoji="1" lang="ja-JP" altLang="en-US" sz="1600"/>
              <a:t>機能要件 </a:t>
            </a:r>
            <a:r>
              <a:rPr kumimoji="1" lang="en-US" altLang="ja-JP" sz="1600"/>
              <a:t>(5)</a:t>
            </a:r>
            <a:r>
              <a:rPr kumimoji="1" lang="ja-JP" altLang="en-US" sz="1600"/>
              <a:t>データベース一覧」参照</a:t>
            </a:r>
          </a:p>
          <a:p>
            <a:pPr lvl="1">
              <a:buFont typeface="Yu Gothic UI" panose="020B0500000000000000" pitchFamily="50" charset="-128"/>
              <a:buChar char="–"/>
            </a:pPr>
            <a:r>
              <a:rPr kumimoji="1" lang="ja-JP" altLang="en-US" sz="1600"/>
              <a:t>オンラインリクエスト件数：約</a:t>
            </a:r>
            <a:r>
              <a:rPr kumimoji="1" lang="en-US" altLang="ja-JP" sz="1600"/>
              <a:t>2,000</a:t>
            </a:r>
            <a:r>
              <a:rPr kumimoji="1" lang="ja-JP" altLang="en-US" sz="1600"/>
              <a:t>件</a:t>
            </a:r>
            <a:r>
              <a:rPr kumimoji="1" lang="en-US" altLang="ja-JP" sz="1600"/>
              <a:t>/</a:t>
            </a:r>
            <a:r>
              <a:rPr kumimoji="1" lang="ja-JP" altLang="en-US" sz="1600"/>
              <a:t>日</a:t>
            </a:r>
          </a:p>
          <a:p>
            <a:pPr lvl="1">
              <a:buFont typeface="Yu Gothic UI" panose="020B0500000000000000" pitchFamily="50" charset="-128"/>
              <a:buChar char="–"/>
            </a:pPr>
            <a:r>
              <a:rPr kumimoji="1" lang="ja-JP" altLang="en-US" sz="1600"/>
              <a:t>バッチ処理件数：約</a:t>
            </a:r>
            <a:r>
              <a:rPr kumimoji="1" lang="en-US" altLang="ja-JP" sz="1600"/>
              <a:t>60</a:t>
            </a:r>
            <a:r>
              <a:rPr kumimoji="1" lang="ja-JP" altLang="en-US" sz="1600"/>
              <a:t>件</a:t>
            </a:r>
            <a:r>
              <a:rPr kumimoji="1" lang="en-US" altLang="ja-JP" sz="1600"/>
              <a:t>/</a:t>
            </a:r>
            <a:r>
              <a:rPr kumimoji="1" lang="ja-JP" altLang="en-US" sz="1600"/>
              <a:t>日</a:t>
            </a:r>
          </a:p>
          <a:p>
            <a:pPr lvl="1">
              <a:buFont typeface="Yu Gothic UI" panose="020B0500000000000000" pitchFamily="50" charset="-128"/>
              <a:buChar char="–"/>
            </a:pPr>
            <a:r>
              <a:rPr kumimoji="1" lang="ja-JP" altLang="en-US" sz="1600"/>
              <a:t>保管期間：トランザクションデータは永年保管できること。ログデータは利用するプラットフォームの保管期間に準じて保管すること。</a:t>
            </a:r>
          </a:p>
          <a:p>
            <a:pPr lvl="1">
              <a:buFont typeface="Yu Gothic UI" panose="020B0500000000000000" pitchFamily="50" charset="-128"/>
              <a:buChar char="–"/>
            </a:pPr>
            <a:r>
              <a:rPr kumimoji="1" lang="ja-JP" altLang="en-US" sz="1600"/>
              <a:t>運用時間：「</a:t>
            </a:r>
            <a:r>
              <a:rPr lang="en-US" altLang="ja-JP" sz="1600"/>
              <a:t> </a:t>
            </a:r>
            <a:r>
              <a:rPr lang="ja-JP" altLang="en-US" sz="1600"/>
              <a:t>３．</a:t>
            </a:r>
            <a:r>
              <a:rPr kumimoji="1" lang="ja-JP" altLang="en-US" sz="1600"/>
              <a:t>非機能要件 </a:t>
            </a:r>
            <a:r>
              <a:rPr kumimoji="1" lang="en-US" altLang="ja-JP" sz="1600"/>
              <a:t>(1)</a:t>
            </a:r>
            <a:r>
              <a:rPr kumimoji="1" lang="ja-JP" altLang="en-US" sz="1600"/>
              <a:t>可用性 運用時間」参照</a:t>
            </a:r>
          </a:p>
          <a:p>
            <a:pPr lvl="1">
              <a:buFont typeface="Yu Gothic UI" panose="020B0500000000000000" pitchFamily="50" charset="-128"/>
              <a:buChar char="–"/>
            </a:pPr>
            <a:r>
              <a:rPr kumimoji="1" lang="ja-JP" altLang="en-US" sz="1600"/>
              <a:t>システム環境：本アプリケーションについては、本番環境、</a:t>
            </a:r>
            <a:r>
              <a:rPr kumimoji="1" lang="en-US" altLang="ja-JP" sz="1600"/>
              <a:t>UAT</a:t>
            </a:r>
            <a:r>
              <a:rPr kumimoji="1" lang="ja-JP" altLang="en-US" sz="1600"/>
              <a:t>環境、開発環境の</a:t>
            </a:r>
            <a:r>
              <a:rPr kumimoji="1" lang="en-US" altLang="ja-JP" sz="1600"/>
              <a:t>3</a:t>
            </a:r>
            <a:r>
              <a:rPr kumimoji="1" lang="ja-JP" altLang="en-US" sz="1600"/>
              <a:t>種類の環境を用意すること。</a:t>
            </a:r>
          </a:p>
          <a:p>
            <a:pPr lvl="1">
              <a:buFont typeface="Yu Gothic UI" panose="020B0500000000000000" pitchFamily="50" charset="-128"/>
              <a:buChar char="–"/>
            </a:pPr>
            <a:r>
              <a:rPr kumimoji="1" lang="ja-JP" altLang="en-US" sz="1600"/>
              <a:t>マニュアル準備レベル：従業員用の操作マニュアルおよび移行手順書を作成すること。加えて、</a:t>
            </a:r>
            <a:r>
              <a:rPr kumimoji="1" lang="en-US" altLang="ja-JP" sz="1600"/>
              <a:t>MCC</a:t>
            </a:r>
            <a:r>
              <a:rPr kumimoji="1" lang="ja-JP" altLang="en-US" sz="1600"/>
              <a:t>に運用を引き継ぐにあたり、「別添運用引継ぎチェックシート」を作成すること。</a:t>
            </a:r>
          </a:p>
        </p:txBody>
      </p:sp>
      <p:sp>
        <p:nvSpPr>
          <p:cNvPr id="4" name="タイトル 3">
            <a:extLst>
              <a:ext uri="{FF2B5EF4-FFF2-40B4-BE49-F238E27FC236}">
                <a16:creationId xmlns:a16="http://schemas.microsoft.com/office/drawing/2014/main" id="{20240A8E-9B73-AE5A-5D61-C7E42CFDAB6C}"/>
              </a:ext>
            </a:extLst>
          </p:cNvPr>
          <p:cNvSpPr>
            <a:spLocks noGrp="1"/>
          </p:cNvSpPr>
          <p:nvPr>
            <p:ph type="title"/>
          </p:nvPr>
        </p:nvSpPr>
        <p:spPr/>
        <p:txBody>
          <a:bodyPr/>
          <a:lstStyle/>
          <a:p>
            <a:r>
              <a:rPr lang="ja-JP" altLang="en-US"/>
              <a:t>３．</a:t>
            </a:r>
            <a:r>
              <a:rPr kumimoji="1" lang="ja-JP" altLang="en-US"/>
              <a:t>非機能要件 </a:t>
            </a:r>
          </a:p>
        </p:txBody>
      </p:sp>
      <p:graphicFrame>
        <p:nvGraphicFramePr>
          <p:cNvPr id="5" name="オブジェクト 4">
            <a:extLst>
              <a:ext uri="{FF2B5EF4-FFF2-40B4-BE49-F238E27FC236}">
                <a16:creationId xmlns:a16="http://schemas.microsoft.com/office/drawing/2014/main" id="{EA01B522-4EE6-2275-D48D-E6B1815F9A2A}"/>
              </a:ext>
            </a:extLst>
          </p:cNvPr>
          <p:cNvGraphicFramePr>
            <a:graphicFrameLocks noChangeAspect="1"/>
          </p:cNvGraphicFramePr>
          <p:nvPr>
            <p:extLst>
              <p:ext uri="{D42A27DB-BD31-4B8C-83A1-F6EECF244321}">
                <p14:modId xmlns:p14="http://schemas.microsoft.com/office/powerpoint/2010/main" val="1613862192"/>
              </p:ext>
            </p:extLst>
          </p:nvPr>
        </p:nvGraphicFramePr>
        <p:xfrm>
          <a:off x="1939845" y="5387803"/>
          <a:ext cx="914400" cy="771525"/>
        </p:xfrm>
        <a:graphic>
          <a:graphicData uri="http://schemas.openxmlformats.org/presentationml/2006/ole">
            <mc:AlternateContent xmlns:mc="http://schemas.openxmlformats.org/markup-compatibility/2006">
              <mc:Choice xmlns:v="urn:schemas-microsoft-com:vml" Requires="v">
                <p:oleObj name="Worksheet" showAsIcon="1" r:id="rId2" imgW="914400" imgH="771365" progId="Excel.Sheet.12">
                  <p:embed/>
                </p:oleObj>
              </mc:Choice>
              <mc:Fallback>
                <p:oleObj name="Worksheet" showAsIcon="1" r:id="rId2" imgW="914400" imgH="771365" progId="Excel.Sheet.12">
                  <p:embed/>
                  <p:pic>
                    <p:nvPicPr>
                      <p:cNvPr id="5" name="オブジェクト 4">
                        <a:extLst>
                          <a:ext uri="{FF2B5EF4-FFF2-40B4-BE49-F238E27FC236}">
                            <a16:creationId xmlns:a16="http://schemas.microsoft.com/office/drawing/2014/main" id="{EA01B522-4EE6-2275-D48D-E6B1815F9A2A}"/>
                          </a:ext>
                        </a:extLst>
                      </p:cNvPr>
                      <p:cNvPicPr/>
                      <p:nvPr/>
                    </p:nvPicPr>
                    <p:blipFill>
                      <a:blip r:embed="rId3"/>
                      <a:stretch>
                        <a:fillRect/>
                      </a:stretch>
                    </p:blipFill>
                    <p:spPr>
                      <a:xfrm>
                        <a:off x="1939845" y="5387803"/>
                        <a:ext cx="914400" cy="771525"/>
                      </a:xfrm>
                      <a:prstGeom prst="rect">
                        <a:avLst/>
                      </a:prstGeom>
                    </p:spPr>
                  </p:pic>
                </p:oleObj>
              </mc:Fallback>
            </mc:AlternateContent>
          </a:graphicData>
        </a:graphic>
      </p:graphicFrame>
      <p:sp>
        <p:nvSpPr>
          <p:cNvPr id="6" name="テキスト ボックス 5">
            <a:extLst>
              <a:ext uri="{FF2B5EF4-FFF2-40B4-BE49-F238E27FC236}">
                <a16:creationId xmlns:a16="http://schemas.microsoft.com/office/drawing/2014/main" id="{D4DBD534-3940-4AD1-C069-88230F0FE5EB}"/>
              </a:ext>
            </a:extLst>
          </p:cNvPr>
          <p:cNvSpPr txBox="1"/>
          <p:nvPr/>
        </p:nvSpPr>
        <p:spPr>
          <a:xfrm>
            <a:off x="1129560" y="4855846"/>
            <a:ext cx="2534970" cy="411501"/>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lang="ja-JP" altLang="en-US" sz="1200"/>
              <a:t>（参考）運用引継ぎチェックシート</a:t>
            </a:r>
            <a:endParaRPr kumimoji="1" lang="ja-JP" altLang="en-US" sz="1200"/>
          </a:p>
        </p:txBody>
      </p:sp>
    </p:spTree>
    <p:extLst>
      <p:ext uri="{BB962C8B-B14F-4D97-AF65-F5344CB8AC3E}">
        <p14:creationId xmlns:p14="http://schemas.microsoft.com/office/powerpoint/2010/main" val="33274584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A14F3907-54FE-5F4D-1889-8A755A4D5F91}"/>
              </a:ext>
            </a:extLst>
          </p:cNvPr>
          <p:cNvSpPr>
            <a:spLocks noGrp="1"/>
          </p:cNvSpPr>
          <p:nvPr>
            <p:ph type="sldNum" sz="quarter" idx="12"/>
          </p:nvPr>
        </p:nvSpPr>
        <p:spPr/>
        <p:txBody>
          <a:bodyPr/>
          <a:lstStyle/>
          <a:p>
            <a:fld id="{98139188-682B-46B8-8E3A-C32D863D2EEC}" type="slidenum">
              <a:rPr lang="ja-JP" altLang="en-US" smtClean="0"/>
              <a:pPr/>
              <a:t>48</a:t>
            </a:fld>
            <a:endParaRPr lang="ja-JP" altLang="en-US"/>
          </a:p>
        </p:txBody>
      </p:sp>
      <p:sp>
        <p:nvSpPr>
          <p:cNvPr id="3" name="テキスト プレースホルダー 2">
            <a:extLst>
              <a:ext uri="{FF2B5EF4-FFF2-40B4-BE49-F238E27FC236}">
                <a16:creationId xmlns:a16="http://schemas.microsoft.com/office/drawing/2014/main" id="{1E34451F-92DA-79B3-D1F0-D2B52A45005B}"/>
              </a:ext>
            </a:extLst>
          </p:cNvPr>
          <p:cNvSpPr>
            <a:spLocks noGrp="1"/>
          </p:cNvSpPr>
          <p:nvPr>
            <p:ph type="body" sz="quarter" idx="13"/>
          </p:nvPr>
        </p:nvSpPr>
        <p:spPr/>
        <p:txBody>
          <a:bodyPr>
            <a:normAutofit/>
          </a:bodyPr>
          <a:lstStyle/>
          <a:p>
            <a:pPr marL="0" indent="0">
              <a:buNone/>
            </a:pPr>
            <a:r>
              <a:rPr kumimoji="1" lang="en-US" altLang="ja-JP" sz="1800"/>
              <a:t>(3)</a:t>
            </a:r>
            <a:r>
              <a:rPr kumimoji="1" lang="ja-JP" altLang="en-US" sz="1800"/>
              <a:t>セキュリティ</a:t>
            </a:r>
          </a:p>
          <a:p>
            <a:pPr lvl="1">
              <a:buFont typeface="Yu Gothic UI" panose="020B0500000000000000" pitchFamily="50" charset="-128"/>
              <a:buChar char="–"/>
            </a:pPr>
            <a:r>
              <a:rPr lang="ja-JP" altLang="en-US" sz="1600"/>
              <a:t>認証：管理権限を持つ主体、管理権限を持たない主体ともに、 </a:t>
            </a:r>
            <a:r>
              <a:rPr lang="en-US" altLang="ja-JP" sz="1600"/>
              <a:t>Microsoft </a:t>
            </a:r>
            <a:r>
              <a:rPr lang="en-US" altLang="ja-JP" sz="1600" err="1"/>
              <a:t>Entra</a:t>
            </a:r>
            <a:r>
              <a:rPr lang="en-US" altLang="ja-JP" sz="1600"/>
              <a:t> ID</a:t>
            </a:r>
            <a:r>
              <a:rPr lang="ja-JP" altLang="en-US" sz="1600"/>
              <a:t>を利用した</a:t>
            </a:r>
            <a:r>
              <a:rPr lang="en-US" altLang="ja-JP" sz="1600"/>
              <a:t>SSO</a:t>
            </a:r>
            <a:r>
              <a:rPr lang="ja-JP" altLang="en-US" sz="1600"/>
              <a:t>による認証を行うこと。</a:t>
            </a:r>
          </a:p>
          <a:p>
            <a:pPr lvl="1">
              <a:buFont typeface="Yu Gothic UI" panose="020B0500000000000000" pitchFamily="50" charset="-128"/>
              <a:buChar char="–"/>
            </a:pPr>
            <a:r>
              <a:rPr lang="ja-JP" altLang="en-US" sz="1600"/>
              <a:t>システム上の対策における操作性限度：「 </a:t>
            </a:r>
            <a:r>
              <a:rPr lang="en-US" altLang="ja-JP" sz="1600"/>
              <a:t>2</a:t>
            </a:r>
            <a:r>
              <a:rPr lang="ja-JP" altLang="en-US" sz="1600"/>
              <a:t>．機能要件一覧 </a:t>
            </a:r>
            <a:r>
              <a:rPr lang="en-US" altLang="ja-JP" sz="1600"/>
              <a:t>(7)</a:t>
            </a:r>
            <a:r>
              <a:rPr lang="ja-JP" altLang="en-US" sz="1600">
                <a:solidFill>
                  <a:prstClr val="black"/>
                </a:solidFill>
              </a:rPr>
              <a:t>機能別アクセス範囲</a:t>
            </a:r>
            <a:r>
              <a:rPr lang="ja-JP" altLang="en-US" sz="1600"/>
              <a:t>」参照</a:t>
            </a:r>
          </a:p>
        </p:txBody>
      </p:sp>
      <p:sp>
        <p:nvSpPr>
          <p:cNvPr id="4" name="タイトル 3">
            <a:extLst>
              <a:ext uri="{FF2B5EF4-FFF2-40B4-BE49-F238E27FC236}">
                <a16:creationId xmlns:a16="http://schemas.microsoft.com/office/drawing/2014/main" id="{20240A8E-9B73-AE5A-5D61-C7E42CFDAB6C}"/>
              </a:ext>
            </a:extLst>
          </p:cNvPr>
          <p:cNvSpPr>
            <a:spLocks noGrp="1"/>
          </p:cNvSpPr>
          <p:nvPr>
            <p:ph type="title"/>
          </p:nvPr>
        </p:nvSpPr>
        <p:spPr/>
        <p:txBody>
          <a:bodyPr/>
          <a:lstStyle/>
          <a:p>
            <a:r>
              <a:rPr lang="ja-JP" altLang="en-US"/>
              <a:t>３．</a:t>
            </a:r>
            <a:r>
              <a:rPr kumimoji="1" lang="ja-JP" altLang="en-US"/>
              <a:t>非機能要件 </a:t>
            </a:r>
          </a:p>
        </p:txBody>
      </p:sp>
    </p:spTree>
    <p:extLst>
      <p:ext uri="{BB962C8B-B14F-4D97-AF65-F5344CB8AC3E}">
        <p14:creationId xmlns:p14="http://schemas.microsoft.com/office/powerpoint/2010/main" val="227552893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A14F3907-54FE-5F4D-1889-8A755A4D5F91}"/>
              </a:ext>
            </a:extLst>
          </p:cNvPr>
          <p:cNvSpPr>
            <a:spLocks noGrp="1"/>
          </p:cNvSpPr>
          <p:nvPr>
            <p:ph type="sldNum" sz="quarter" idx="12"/>
          </p:nvPr>
        </p:nvSpPr>
        <p:spPr/>
        <p:txBody>
          <a:bodyPr/>
          <a:lstStyle/>
          <a:p>
            <a:fld id="{98139188-682B-46B8-8E3A-C32D863D2EEC}" type="slidenum">
              <a:rPr lang="ja-JP" altLang="en-US" smtClean="0"/>
              <a:pPr/>
              <a:t>49</a:t>
            </a:fld>
            <a:endParaRPr lang="ja-JP" altLang="en-US"/>
          </a:p>
        </p:txBody>
      </p:sp>
      <p:sp>
        <p:nvSpPr>
          <p:cNvPr id="3" name="テキスト プレースホルダー 2">
            <a:extLst>
              <a:ext uri="{FF2B5EF4-FFF2-40B4-BE49-F238E27FC236}">
                <a16:creationId xmlns:a16="http://schemas.microsoft.com/office/drawing/2014/main" id="{1E34451F-92DA-79B3-D1F0-D2B52A45005B}"/>
              </a:ext>
            </a:extLst>
          </p:cNvPr>
          <p:cNvSpPr>
            <a:spLocks noGrp="1"/>
          </p:cNvSpPr>
          <p:nvPr>
            <p:ph type="body" sz="quarter" idx="13"/>
          </p:nvPr>
        </p:nvSpPr>
        <p:spPr/>
        <p:txBody>
          <a:bodyPr>
            <a:normAutofit/>
          </a:bodyPr>
          <a:lstStyle/>
          <a:p>
            <a:pPr marL="0" indent="0">
              <a:buNone/>
            </a:pPr>
            <a:r>
              <a:rPr kumimoji="1" lang="en-US" altLang="ja-JP" sz="1800"/>
              <a:t>(4)</a:t>
            </a:r>
            <a:r>
              <a:rPr kumimoji="1" lang="ja-JP" altLang="en-US" sz="1800"/>
              <a:t>システム環境</a:t>
            </a:r>
          </a:p>
          <a:p>
            <a:pPr lvl="1">
              <a:buFont typeface="Yu Gothic UI" panose="020B0500000000000000" pitchFamily="50" charset="-128"/>
              <a:buChar char="–"/>
            </a:pPr>
            <a:r>
              <a:rPr lang="ja-JP" altLang="en-US" sz="1600"/>
              <a:t>ユーザ数： 「３．非機能要件 </a:t>
            </a:r>
            <a:r>
              <a:rPr lang="en-US" altLang="ja-JP" sz="1600"/>
              <a:t>(2)</a:t>
            </a:r>
            <a:r>
              <a:rPr lang="ja-JP" altLang="en-US" sz="1600"/>
              <a:t>性能・拡張性 ユーザ数」参照</a:t>
            </a:r>
          </a:p>
          <a:p>
            <a:pPr lvl="1">
              <a:buFont typeface="Yu Gothic UI" panose="020B0500000000000000" pitchFamily="50" charset="-128"/>
              <a:buChar char="–"/>
            </a:pPr>
            <a:r>
              <a:rPr lang="ja-JP" altLang="en-US" sz="1600"/>
              <a:t>特定製品の採用有無：</a:t>
            </a:r>
            <a:r>
              <a:rPr lang="en-US" altLang="ja-JP" sz="1600">
                <a:highlight>
                  <a:srgbClr val="00FFFF"/>
                </a:highlight>
              </a:rPr>
              <a:t>XX</a:t>
            </a:r>
            <a:r>
              <a:rPr lang="ja-JP" altLang="en-US" sz="1600">
                <a:highlight>
                  <a:srgbClr val="00FFFF"/>
                </a:highlight>
              </a:rPr>
              <a:t>（</a:t>
            </a:r>
            <a:r>
              <a:rPr kumimoji="1" lang="en-US" altLang="ja-JP" sz="1600" b="0" i="0" u="none" strike="noStrike" kern="1200" cap="none" spc="0" normalizeH="0" baseline="0" noProof="0">
                <a:ln>
                  <a:noFill/>
                </a:ln>
                <a:solidFill>
                  <a:srgbClr val="000000"/>
                </a:solidFill>
                <a:effectLst/>
                <a:highlight>
                  <a:srgbClr val="00FFFF"/>
                </a:highlight>
                <a:uLnTx/>
                <a:uFillTx/>
                <a:latin typeface="Arial"/>
                <a:ea typeface="游ゴシック Medium"/>
                <a:cs typeface="+mn-cs"/>
              </a:rPr>
              <a:t> 2025/7/1</a:t>
            </a:r>
            <a:r>
              <a:rPr kumimoji="1" lang="ja-JP" altLang="en-US" sz="1600" b="0" i="0" u="none" strike="noStrike" kern="1200" cap="none" spc="0" normalizeH="0" baseline="0" noProof="0">
                <a:ln>
                  <a:noFill/>
                </a:ln>
                <a:solidFill>
                  <a:srgbClr val="000000"/>
                </a:solidFill>
                <a:effectLst/>
                <a:highlight>
                  <a:srgbClr val="00FFFF"/>
                </a:highlight>
                <a:uLnTx/>
                <a:uFillTx/>
                <a:latin typeface="Arial"/>
                <a:ea typeface="游ゴシック Medium"/>
                <a:cs typeface="+mn-cs"/>
              </a:rPr>
              <a:t>時点でソリューション選定中</a:t>
            </a:r>
            <a:r>
              <a:rPr lang="ja-JP" altLang="en-US" sz="1600">
                <a:highlight>
                  <a:srgbClr val="00FFFF"/>
                </a:highlight>
              </a:rPr>
              <a:t>）</a:t>
            </a:r>
            <a:br>
              <a:rPr lang="en-US" altLang="ja-JP" sz="1600"/>
            </a:br>
            <a:br>
              <a:rPr lang="en-US" altLang="ja-JP" sz="1600"/>
            </a:br>
            <a:r>
              <a:rPr lang="en-US" altLang="ja-JP" sz="1600">
                <a:highlight>
                  <a:srgbClr val="00FFFF"/>
                </a:highlight>
              </a:rPr>
              <a:t>※</a:t>
            </a:r>
            <a:r>
              <a:rPr lang="ja-JP" altLang="en-US" sz="1600">
                <a:highlight>
                  <a:srgbClr val="00FFFF"/>
                </a:highlight>
              </a:rPr>
              <a:t>ソリューション選定結果を踏まえて</a:t>
            </a:r>
            <a:r>
              <a:rPr lang="en-US" altLang="ja-JP" sz="1600">
                <a:highlight>
                  <a:srgbClr val="00FFFF"/>
                </a:highlight>
              </a:rPr>
              <a:t>MCC</a:t>
            </a:r>
            <a:r>
              <a:rPr lang="ja-JP" altLang="en-US" sz="1600">
                <a:highlight>
                  <a:srgbClr val="00FFFF"/>
                </a:highlight>
              </a:rPr>
              <a:t>内部でコスト等を検討したうえで更新お願いします</a:t>
            </a:r>
            <a:endParaRPr kumimoji="1" lang="ja-JP" altLang="en-US" sz="1600">
              <a:highlight>
                <a:srgbClr val="00FFFF"/>
              </a:highlight>
            </a:endParaRPr>
          </a:p>
          <a:p>
            <a:pPr marL="0" indent="0">
              <a:buNone/>
            </a:pPr>
            <a:endParaRPr kumimoji="1" lang="ja-JP" altLang="en-US" sz="1600"/>
          </a:p>
        </p:txBody>
      </p:sp>
      <p:sp>
        <p:nvSpPr>
          <p:cNvPr id="4" name="タイトル 3">
            <a:extLst>
              <a:ext uri="{FF2B5EF4-FFF2-40B4-BE49-F238E27FC236}">
                <a16:creationId xmlns:a16="http://schemas.microsoft.com/office/drawing/2014/main" id="{20240A8E-9B73-AE5A-5D61-C7E42CFDAB6C}"/>
              </a:ext>
            </a:extLst>
          </p:cNvPr>
          <p:cNvSpPr>
            <a:spLocks noGrp="1"/>
          </p:cNvSpPr>
          <p:nvPr>
            <p:ph type="title"/>
          </p:nvPr>
        </p:nvSpPr>
        <p:spPr/>
        <p:txBody>
          <a:bodyPr/>
          <a:lstStyle/>
          <a:p>
            <a:r>
              <a:rPr lang="ja-JP" altLang="en-US"/>
              <a:t>３．</a:t>
            </a:r>
            <a:r>
              <a:rPr kumimoji="1" lang="ja-JP" altLang="en-US"/>
              <a:t>非機能要件 </a:t>
            </a:r>
          </a:p>
        </p:txBody>
      </p:sp>
    </p:spTree>
    <p:extLst>
      <p:ext uri="{BB962C8B-B14F-4D97-AF65-F5344CB8AC3E}">
        <p14:creationId xmlns:p14="http://schemas.microsoft.com/office/powerpoint/2010/main" val="33552064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表 7">
            <a:extLst>
              <a:ext uri="{FF2B5EF4-FFF2-40B4-BE49-F238E27FC236}">
                <a16:creationId xmlns:a16="http://schemas.microsoft.com/office/drawing/2014/main" id="{335D9AEC-0386-9468-61BA-BB4C50706B89}"/>
              </a:ext>
            </a:extLst>
          </p:cNvPr>
          <p:cNvGraphicFramePr>
            <a:graphicFrameLocks noGrp="1"/>
          </p:cNvGraphicFramePr>
          <p:nvPr>
            <p:extLst>
              <p:ext uri="{D42A27DB-BD31-4B8C-83A1-F6EECF244321}">
                <p14:modId xmlns:p14="http://schemas.microsoft.com/office/powerpoint/2010/main" val="2606449919"/>
              </p:ext>
            </p:extLst>
          </p:nvPr>
        </p:nvGraphicFramePr>
        <p:xfrm>
          <a:off x="72000" y="1381063"/>
          <a:ext cx="9000000" cy="5212971"/>
        </p:xfrm>
        <a:graphic>
          <a:graphicData uri="http://schemas.openxmlformats.org/drawingml/2006/table">
            <a:tbl>
              <a:tblPr firstRow="1" bandRow="1">
                <a:tableStyleId>{5C22544A-7EE6-4342-B048-85BDC9FD1C3A}</a:tableStyleId>
              </a:tblPr>
              <a:tblGrid>
                <a:gridCol w="540000">
                  <a:extLst>
                    <a:ext uri="{9D8B030D-6E8A-4147-A177-3AD203B41FA5}">
                      <a16:colId xmlns:a16="http://schemas.microsoft.com/office/drawing/2014/main" val="301329377"/>
                    </a:ext>
                  </a:extLst>
                </a:gridCol>
                <a:gridCol w="8460000">
                  <a:extLst>
                    <a:ext uri="{9D8B030D-6E8A-4147-A177-3AD203B41FA5}">
                      <a16:colId xmlns:a16="http://schemas.microsoft.com/office/drawing/2014/main" val="1027567464"/>
                    </a:ext>
                  </a:extLst>
                </a:gridCol>
              </a:tblGrid>
              <a:tr h="345337">
                <a:tc>
                  <a:txBody>
                    <a:bodyPr/>
                    <a:lstStyle/>
                    <a:p>
                      <a:endParaRPr kumimoji="1" lang="ja-JP" altLang="en-US"/>
                    </a:p>
                  </a:txBody>
                  <a:tcPr>
                    <a:solidFill>
                      <a:schemeClr val="accent1"/>
                    </a:solidFill>
                  </a:tcPr>
                </a:tc>
                <a:tc>
                  <a:txBody>
                    <a:bodyPr/>
                    <a:lstStyle/>
                    <a:p>
                      <a:r>
                        <a:rPr kumimoji="1" lang="ja-JP" altLang="en-US"/>
                        <a:t>業務種別　　</a:t>
                      </a:r>
                      <a:r>
                        <a:rPr kumimoji="1" lang="en-US" altLang="ja-JP"/>
                        <a:t>a.</a:t>
                      </a:r>
                      <a:r>
                        <a:rPr kumimoji="1" lang="ja-JP" altLang="en-US"/>
                        <a:t>納入仕様書作成</a:t>
                      </a:r>
                      <a:r>
                        <a:rPr kumimoji="1" lang="en-US" altLang="ja-JP"/>
                        <a:t>/</a:t>
                      </a:r>
                      <a:r>
                        <a:rPr kumimoji="1" lang="ja-JP" altLang="en-US"/>
                        <a:t>改訂（</a:t>
                      </a:r>
                      <a:r>
                        <a:rPr kumimoji="1" lang="en-US" altLang="ja-JP"/>
                        <a:t>WF</a:t>
                      </a:r>
                      <a:r>
                        <a:rPr kumimoji="1" lang="ja-JP" altLang="en-US"/>
                        <a:t>あり）</a:t>
                      </a:r>
                    </a:p>
                  </a:txBody>
                  <a:tcPr/>
                </a:tc>
                <a:extLst>
                  <a:ext uri="{0D108BD9-81ED-4DB2-BD59-A6C34878D82A}">
                    <a16:rowId xmlns:a16="http://schemas.microsoft.com/office/drawing/2014/main" val="2838924240"/>
                  </a:ext>
                </a:extLst>
              </a:tr>
              <a:tr h="1456611">
                <a:tc>
                  <a:txBody>
                    <a:bodyPr/>
                    <a:lstStyle/>
                    <a:p>
                      <a:r>
                        <a:rPr kumimoji="1" lang="ja-JP" altLang="en-US" sz="1050" b="1">
                          <a:solidFill>
                            <a:schemeClr val="bg1"/>
                          </a:solidFill>
                        </a:rPr>
                        <a:t>支店・支社</a:t>
                      </a:r>
                      <a:br>
                        <a:rPr kumimoji="1" lang="en-US" altLang="ja-JP" sz="1050" b="1">
                          <a:solidFill>
                            <a:schemeClr val="bg1"/>
                          </a:solidFill>
                        </a:rPr>
                      </a:br>
                      <a:r>
                        <a:rPr kumimoji="1" lang="en-US" altLang="ja-JP" sz="1050" b="1">
                          <a:solidFill>
                            <a:schemeClr val="bg1"/>
                          </a:solidFill>
                        </a:rPr>
                        <a:t>(</a:t>
                      </a:r>
                      <a:r>
                        <a:rPr kumimoji="1" lang="ja-JP" altLang="en-US" sz="1050" b="1">
                          <a:solidFill>
                            <a:schemeClr val="bg1"/>
                          </a:solidFill>
                        </a:rPr>
                        <a:t>営業部門</a:t>
                      </a:r>
                      <a:r>
                        <a:rPr kumimoji="1" lang="en-US" altLang="ja-JP" sz="1050" b="1">
                          <a:solidFill>
                            <a:schemeClr val="bg1"/>
                          </a:solidFill>
                        </a:rPr>
                        <a:t>)</a:t>
                      </a:r>
                      <a:endParaRPr kumimoji="1" lang="ja-JP" altLang="en-US" sz="1000" b="1">
                        <a:solidFill>
                          <a:schemeClr val="bg1"/>
                        </a:solidFill>
                      </a:endParaRPr>
                    </a:p>
                  </a:txBody>
                  <a:tcPr vert="wordArtVertRtl" anchor="ctr" anchorCtr="1">
                    <a:solidFill>
                      <a:schemeClr val="accent1"/>
                    </a:solidFill>
                  </a:tcPr>
                </a:tc>
                <a:tc>
                  <a:txBody>
                    <a:bodyPr/>
                    <a:lstStyle/>
                    <a:p>
                      <a:endParaRPr kumimoji="1" lang="ja-JP" altLang="en-US"/>
                    </a:p>
                  </a:txBody>
                  <a:tcPr/>
                </a:tc>
                <a:extLst>
                  <a:ext uri="{0D108BD9-81ED-4DB2-BD59-A6C34878D82A}">
                    <a16:rowId xmlns:a16="http://schemas.microsoft.com/office/drawing/2014/main" val="3028206946"/>
                  </a:ext>
                </a:extLst>
              </a:tr>
              <a:tr h="1130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a:ln>
                            <a:noFill/>
                          </a:ln>
                          <a:solidFill>
                            <a:prstClr val="white"/>
                          </a:solidFill>
                          <a:effectLst/>
                          <a:uLnTx/>
                          <a:uFillTx/>
                          <a:latin typeface="Yu Gothic UI"/>
                          <a:ea typeface="Yu Gothic UI"/>
                          <a:cs typeface="+mn-cs"/>
                        </a:rPr>
                        <a:t>事業部</a:t>
                      </a:r>
                      <a:r>
                        <a:rPr kumimoji="1" lang="en-US" altLang="ja-JP" sz="1050" b="1" i="0" u="none" strike="noStrike" kern="1200" cap="none" spc="0" normalizeH="0" baseline="0" noProof="0">
                          <a:ln>
                            <a:noFill/>
                          </a:ln>
                          <a:solidFill>
                            <a:prstClr val="white"/>
                          </a:solidFill>
                          <a:effectLst/>
                          <a:uLnTx/>
                          <a:uFillTx/>
                          <a:latin typeface="Yu Gothic UI"/>
                          <a:ea typeface="Yu Gothic UI"/>
                          <a:cs typeface="+mn-cs"/>
                        </a:rPr>
                        <a:t>/</a:t>
                      </a:r>
                      <a:r>
                        <a:rPr kumimoji="1" lang="ja-JP" altLang="en-US" sz="1050" b="1" i="0" u="none" strike="noStrike" kern="1200" cap="none" spc="0" normalizeH="0" baseline="0" noProof="0">
                          <a:ln>
                            <a:noFill/>
                          </a:ln>
                          <a:solidFill>
                            <a:prstClr val="white"/>
                          </a:solidFill>
                          <a:effectLst/>
                          <a:uLnTx/>
                          <a:uFillTx/>
                          <a:latin typeface="Yu Gothic UI"/>
                          <a:ea typeface="Yu Gothic UI"/>
                          <a:cs typeface="+mn-cs"/>
                        </a:rPr>
                        <a:t>事業所</a:t>
                      </a:r>
                      <a:r>
                        <a:rPr kumimoji="1" lang="ja-JP" altLang="en-US" sz="900" b="1" i="0" u="none" strike="noStrike" kern="1200" cap="none" spc="0" normalizeH="0" baseline="0" noProof="0">
                          <a:ln>
                            <a:noFill/>
                          </a:ln>
                          <a:solidFill>
                            <a:prstClr val="white"/>
                          </a:solidFill>
                          <a:effectLst/>
                          <a:uLnTx/>
                          <a:uFillTx/>
                          <a:latin typeface="Yu Gothic UI"/>
                          <a:ea typeface="Yu Gothic UI"/>
                          <a:cs typeface="+mn-cs"/>
                        </a:rPr>
                        <a:t>（窓口）</a:t>
                      </a:r>
                      <a:endParaRPr kumimoji="1" lang="ja-JP" altLang="en-US" sz="1050" b="1" i="0" u="none" strike="noStrike" kern="1200" cap="none" spc="0" normalizeH="0" baseline="0" noProof="0">
                        <a:ln>
                          <a:noFill/>
                        </a:ln>
                        <a:solidFill>
                          <a:prstClr val="white"/>
                        </a:solidFill>
                        <a:effectLst/>
                        <a:uLnTx/>
                        <a:uFillTx/>
                        <a:latin typeface="Yu Gothic UI"/>
                        <a:ea typeface="Yu Gothic UI"/>
                        <a:cs typeface="+mn-cs"/>
                      </a:endParaRPr>
                    </a:p>
                  </a:txBody>
                  <a:tcPr vert="wordArtVertRtl" anchor="ctr" anchorCtr="1">
                    <a:solidFill>
                      <a:schemeClr val="accent1"/>
                    </a:solidFill>
                  </a:tcPr>
                </a:tc>
                <a:tc>
                  <a:txBody>
                    <a:bodyPr/>
                    <a:lstStyle/>
                    <a:p>
                      <a:endParaRPr kumimoji="1" lang="ja-JP" altLang="en-US" sz="1600"/>
                    </a:p>
                  </a:txBody>
                  <a:tcPr/>
                </a:tc>
                <a:extLst>
                  <a:ext uri="{0D108BD9-81ED-4DB2-BD59-A6C34878D82A}">
                    <a16:rowId xmlns:a16="http://schemas.microsoft.com/office/drawing/2014/main" val="1928206092"/>
                  </a:ext>
                </a:extLst>
              </a:tr>
              <a:tr h="1130200">
                <a:tc>
                  <a:txBody>
                    <a:bodyPr/>
                    <a:lstStyle/>
                    <a:p>
                      <a:r>
                        <a:rPr kumimoji="1" lang="ja-JP" altLang="en-US" sz="1100" b="1">
                          <a:solidFill>
                            <a:schemeClr val="bg1"/>
                          </a:solidFill>
                        </a:rPr>
                        <a:t>事業所（作成部門）</a:t>
                      </a:r>
                    </a:p>
                  </a:txBody>
                  <a:tcPr vert="wordArtVertRtl" anchor="ctr" anchorCtr="1">
                    <a:solidFill>
                      <a:schemeClr val="accent1"/>
                    </a:solidFill>
                  </a:tcPr>
                </a:tc>
                <a:tc>
                  <a:txBody>
                    <a:bodyPr/>
                    <a:lstStyle/>
                    <a:p>
                      <a:endParaRPr kumimoji="1" lang="ja-JP" altLang="en-US"/>
                    </a:p>
                  </a:txBody>
                  <a:tcPr/>
                </a:tc>
                <a:extLst>
                  <a:ext uri="{0D108BD9-81ED-4DB2-BD59-A6C34878D82A}">
                    <a16:rowId xmlns:a16="http://schemas.microsoft.com/office/drawing/2014/main" val="4039432576"/>
                  </a:ext>
                </a:extLst>
              </a:tr>
              <a:tr h="1130200">
                <a:tc>
                  <a:txBody>
                    <a:bodyPr/>
                    <a:lstStyle/>
                    <a:p>
                      <a:r>
                        <a:rPr kumimoji="1" lang="ja-JP" altLang="en-US" sz="1100" b="1">
                          <a:solidFill>
                            <a:schemeClr val="bg1"/>
                          </a:solidFill>
                        </a:rPr>
                        <a:t>最終承認部門</a:t>
                      </a:r>
                    </a:p>
                  </a:txBody>
                  <a:tcPr vert="wordArtVertRtl" anchor="ctr" anchorCtr="1">
                    <a:solidFill>
                      <a:schemeClr val="accent1"/>
                    </a:solidFill>
                  </a:tcPr>
                </a:tc>
                <a:tc>
                  <a:txBody>
                    <a:bodyPr/>
                    <a:lstStyle/>
                    <a:p>
                      <a:endParaRPr kumimoji="1" lang="ja-JP" altLang="en-US"/>
                    </a:p>
                  </a:txBody>
                  <a:tcPr/>
                </a:tc>
                <a:extLst>
                  <a:ext uri="{0D108BD9-81ED-4DB2-BD59-A6C34878D82A}">
                    <a16:rowId xmlns:a16="http://schemas.microsoft.com/office/drawing/2014/main" val="2273411701"/>
                  </a:ext>
                </a:extLst>
              </a:tr>
            </a:tbl>
          </a:graphicData>
        </a:graphic>
      </p:graphicFrame>
      <p:graphicFrame>
        <p:nvGraphicFramePr>
          <p:cNvPr id="5" name="think-cell data - do not delete" hidden="1">
            <a:extLst>
              <a:ext uri="{FF2B5EF4-FFF2-40B4-BE49-F238E27FC236}">
                <a16:creationId xmlns:a16="http://schemas.microsoft.com/office/drawing/2014/main" id="{BA976F1A-1F23-8E7A-9FE8-516548FD8E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5" name="think-cell data - do not delete" hidden="1">
                        <a:extLst>
                          <a:ext uri="{FF2B5EF4-FFF2-40B4-BE49-F238E27FC236}">
                            <a16:creationId xmlns:a16="http://schemas.microsoft.com/office/drawing/2014/main" id="{BA976F1A-1F23-8E7A-9FE8-516548FD8E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DEF3795D-40A6-30F0-9738-4A6C978F90FB}"/>
              </a:ext>
            </a:extLst>
          </p:cNvPr>
          <p:cNvSpPr>
            <a:spLocks noGrp="1"/>
          </p:cNvSpPr>
          <p:nvPr>
            <p:ph type="sldNum" sz="quarter" idx="12"/>
          </p:nvPr>
        </p:nvSpPr>
        <p:spPr/>
        <p:txBody>
          <a:bodyPr/>
          <a:lstStyle/>
          <a:p>
            <a:fld id="{98139188-682B-46B8-8E3A-C32D863D2EEC}" type="slidenum">
              <a:rPr lang="ja-JP" altLang="en-US" smtClean="0"/>
              <a:pPr/>
              <a:t>5</a:t>
            </a:fld>
            <a:endParaRPr lang="ja-JP" altLang="en-US"/>
          </a:p>
        </p:txBody>
      </p:sp>
      <p:sp>
        <p:nvSpPr>
          <p:cNvPr id="4" name="タイトル 3">
            <a:extLst>
              <a:ext uri="{FF2B5EF4-FFF2-40B4-BE49-F238E27FC236}">
                <a16:creationId xmlns:a16="http://schemas.microsoft.com/office/drawing/2014/main" id="{BE23AE77-CEAB-36A7-A61B-D1A32051ACD2}"/>
              </a:ext>
            </a:extLst>
          </p:cNvPr>
          <p:cNvSpPr>
            <a:spLocks noGrp="1"/>
          </p:cNvSpPr>
          <p:nvPr>
            <p:ph type="title"/>
          </p:nvPr>
        </p:nvSpPr>
        <p:spPr>
          <a:xfrm>
            <a:off x="251519" y="263966"/>
            <a:ext cx="7680208" cy="523220"/>
          </a:xfrm>
        </p:spPr>
        <p:txBody>
          <a:bodyPr vert="horz"/>
          <a:lstStyle/>
          <a:p>
            <a:r>
              <a:rPr kumimoji="1" lang="ja-JP" altLang="en-US"/>
              <a:t>１．業務要件</a:t>
            </a:r>
          </a:p>
        </p:txBody>
      </p:sp>
      <p:sp>
        <p:nvSpPr>
          <p:cNvPr id="11" name="四角形: 角を丸くする 10">
            <a:extLst>
              <a:ext uri="{FF2B5EF4-FFF2-40B4-BE49-F238E27FC236}">
                <a16:creationId xmlns:a16="http://schemas.microsoft.com/office/drawing/2014/main" id="{371DE847-BA56-99A2-E649-8F373E199388}"/>
              </a:ext>
            </a:extLst>
          </p:cNvPr>
          <p:cNvSpPr/>
          <p:nvPr/>
        </p:nvSpPr>
        <p:spPr>
          <a:xfrm>
            <a:off x="941338" y="2460534"/>
            <a:ext cx="629983" cy="488950"/>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顧客依頼</a:t>
            </a:r>
          </a:p>
        </p:txBody>
      </p:sp>
      <p:sp>
        <p:nvSpPr>
          <p:cNvPr id="12" name="正方形/長方形 11">
            <a:extLst>
              <a:ext uri="{FF2B5EF4-FFF2-40B4-BE49-F238E27FC236}">
                <a16:creationId xmlns:a16="http://schemas.microsoft.com/office/drawing/2014/main" id="{AF21F060-AC45-A167-5EEE-551D27EE6B1C}"/>
              </a:ext>
            </a:extLst>
          </p:cNvPr>
          <p:cNvSpPr/>
          <p:nvPr/>
        </p:nvSpPr>
        <p:spPr>
          <a:xfrm>
            <a:off x="2098853" y="2476082"/>
            <a:ext cx="1029616" cy="457855"/>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納入仕様書</a:t>
            </a:r>
            <a:br>
              <a:rPr kumimoji="1" lang="en-US" altLang="ja-JP" sz="1100" b="0" i="0" u="none" strike="noStrike" kern="1200" cap="none" spc="0" normalizeH="0" baseline="0" noProof="0">
                <a:ln>
                  <a:noFill/>
                </a:ln>
                <a:solidFill>
                  <a:prstClr val="black"/>
                </a:solidFill>
                <a:effectLst/>
                <a:uLnTx/>
                <a:uFillTx/>
                <a:latin typeface="Yu Gothic UI"/>
                <a:ea typeface="Yu Gothic UI"/>
                <a:cs typeface="+mn-cs"/>
              </a:rPr>
            </a:br>
            <a:r>
              <a:rPr kumimoji="1" lang="en-US" altLang="ja-JP" sz="1100" b="0" i="0" u="none" strike="noStrike" kern="1200" cap="none" spc="0" normalizeH="0" baseline="0" noProof="0">
                <a:ln>
                  <a:noFill/>
                </a:ln>
                <a:solidFill>
                  <a:prstClr val="black"/>
                </a:solidFill>
                <a:effectLst/>
                <a:uLnTx/>
                <a:uFillTx/>
                <a:latin typeface="Yu Gothic UI"/>
                <a:ea typeface="Yu Gothic UI"/>
                <a:cs typeface="+mn-cs"/>
              </a:rPr>
              <a:t>(</a:t>
            </a: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依頼</a:t>
            </a:r>
            <a:r>
              <a:rPr kumimoji="1" lang="en-US" altLang="ja-JP" sz="1100" b="0" i="0" u="none" strike="noStrike" kern="1200" cap="none" spc="0" normalizeH="0" baseline="0" noProof="0">
                <a:ln>
                  <a:noFill/>
                </a:ln>
                <a:solidFill>
                  <a:prstClr val="black"/>
                </a:solidFill>
                <a:effectLst/>
                <a:uLnTx/>
                <a:uFillTx/>
                <a:latin typeface="Yu Gothic UI"/>
                <a:ea typeface="Yu Gothic UI"/>
                <a:cs typeface="+mn-cs"/>
              </a:rPr>
              <a:t>)</a:t>
            </a: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起票</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15" name="直線矢印コネクタ 14">
            <a:extLst>
              <a:ext uri="{FF2B5EF4-FFF2-40B4-BE49-F238E27FC236}">
                <a16:creationId xmlns:a16="http://schemas.microsoft.com/office/drawing/2014/main" id="{C87BA8EC-7174-71B5-D5A5-300FD6EECE38}"/>
              </a:ext>
            </a:extLst>
          </p:cNvPr>
          <p:cNvCxnSpPr>
            <a:cxnSpLocks/>
            <a:stCxn id="11" idx="3"/>
            <a:endCxn id="12" idx="1"/>
          </p:cNvCxnSpPr>
          <p:nvPr/>
        </p:nvCxnSpPr>
        <p:spPr>
          <a:xfrm>
            <a:off x="1571321" y="2705009"/>
            <a:ext cx="527532"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直線矢印コネクタ 12">
            <a:extLst>
              <a:ext uri="{FF2B5EF4-FFF2-40B4-BE49-F238E27FC236}">
                <a16:creationId xmlns:a16="http://schemas.microsoft.com/office/drawing/2014/main" id="{90FD5A99-4A55-50A3-5454-9B0836C94147}"/>
              </a:ext>
            </a:extLst>
          </p:cNvPr>
          <p:cNvCxnSpPr>
            <a:cxnSpLocks/>
            <a:stCxn id="12" idx="2"/>
            <a:endCxn id="18" idx="0"/>
          </p:cNvCxnSpPr>
          <p:nvPr/>
        </p:nvCxnSpPr>
        <p:spPr>
          <a:xfrm>
            <a:off x="2613661" y="2933937"/>
            <a:ext cx="0" cy="5573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ひし形 17">
            <a:extLst>
              <a:ext uri="{FF2B5EF4-FFF2-40B4-BE49-F238E27FC236}">
                <a16:creationId xmlns:a16="http://schemas.microsoft.com/office/drawing/2014/main" id="{B59F8DCC-9E26-9231-243D-87FB5DC0A76E}"/>
              </a:ext>
            </a:extLst>
          </p:cNvPr>
          <p:cNvSpPr/>
          <p:nvPr/>
        </p:nvSpPr>
        <p:spPr>
          <a:xfrm>
            <a:off x="2173333" y="3491286"/>
            <a:ext cx="880656" cy="488950"/>
          </a:xfrm>
          <a:prstGeom prst="diamond">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100">
                <a:solidFill>
                  <a:prstClr val="black"/>
                </a:solidFill>
                <a:latin typeface="Yu Gothic UI"/>
                <a:ea typeface="Yu Gothic UI"/>
              </a:rPr>
              <a:t>確認・承認①</a:t>
            </a:r>
          </a:p>
        </p:txBody>
      </p:sp>
      <p:cxnSp>
        <p:nvCxnSpPr>
          <p:cNvPr id="3" name="直線矢印コネクタ 2">
            <a:extLst>
              <a:ext uri="{FF2B5EF4-FFF2-40B4-BE49-F238E27FC236}">
                <a16:creationId xmlns:a16="http://schemas.microsoft.com/office/drawing/2014/main" id="{DA2742F8-E8F1-35AD-5317-2E2028F7E099}"/>
              </a:ext>
            </a:extLst>
          </p:cNvPr>
          <p:cNvCxnSpPr>
            <a:cxnSpLocks/>
            <a:stCxn id="18" idx="2"/>
          </p:cNvCxnSpPr>
          <p:nvPr/>
        </p:nvCxnSpPr>
        <p:spPr>
          <a:xfrm>
            <a:off x="2613661" y="3980236"/>
            <a:ext cx="0" cy="7001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フローチャート: 判断 7">
            <a:extLst>
              <a:ext uri="{FF2B5EF4-FFF2-40B4-BE49-F238E27FC236}">
                <a16:creationId xmlns:a16="http://schemas.microsoft.com/office/drawing/2014/main" id="{6D22530A-C311-5F6B-37DD-014C921DFAF6}"/>
              </a:ext>
            </a:extLst>
          </p:cNvPr>
          <p:cNvSpPr/>
          <p:nvPr/>
        </p:nvSpPr>
        <p:spPr>
          <a:xfrm>
            <a:off x="2188200" y="4680343"/>
            <a:ext cx="850923" cy="457855"/>
          </a:xfrm>
          <a:prstGeom prst="flowChartDecision">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Yu Gothic UI"/>
                <a:ea typeface="Yu Gothic UI"/>
                <a:cs typeface="+mn-cs"/>
              </a:rPr>
              <a:t>確認・承認②</a:t>
            </a:r>
            <a:r>
              <a:rPr kumimoji="1" lang="ja-JP" altLang="en-US" sz="800" b="0" i="0" u="none" strike="noStrike" kern="1200" cap="none" spc="0" normalizeH="0" baseline="0" noProof="0">
                <a:ln>
                  <a:noFill/>
                </a:ln>
                <a:solidFill>
                  <a:prstClr val="black"/>
                </a:solidFill>
                <a:effectLst/>
                <a:uLnTx/>
                <a:uFillTx/>
                <a:latin typeface="Yu Gothic UI"/>
                <a:ea typeface="Yu Gothic UI"/>
                <a:cs typeface="+mn-cs"/>
              </a:rPr>
              <a:t> </a:t>
            </a:r>
            <a:endParaRPr kumimoji="1" lang="en-US" altLang="ja-JP" sz="800" b="0" i="0" u="none" strike="noStrike" kern="1200" cap="none" spc="0" normalizeH="0" baseline="0" noProof="0">
              <a:ln>
                <a:noFill/>
              </a:ln>
              <a:solidFill>
                <a:prstClr val="black"/>
              </a:solidFill>
              <a:effectLst/>
              <a:uLnTx/>
              <a:uFillTx/>
              <a:latin typeface="Yu Gothic UI"/>
              <a:ea typeface="Yu Gothic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Yu Gothic UI"/>
                <a:ea typeface="Yu Gothic UI"/>
                <a:cs typeface="+mn-cs"/>
              </a:rPr>
              <a:t>（作成部門）</a:t>
            </a:r>
            <a:endParaRPr kumimoji="1" lang="en-US" altLang="ja-JP" sz="105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43" name="正方形/長方形 42">
            <a:extLst>
              <a:ext uri="{FF2B5EF4-FFF2-40B4-BE49-F238E27FC236}">
                <a16:creationId xmlns:a16="http://schemas.microsoft.com/office/drawing/2014/main" id="{FFFFB072-E02B-3239-8250-41C1F992AD0A}"/>
              </a:ext>
            </a:extLst>
          </p:cNvPr>
          <p:cNvSpPr/>
          <p:nvPr/>
        </p:nvSpPr>
        <p:spPr>
          <a:xfrm>
            <a:off x="561255" y="4402176"/>
            <a:ext cx="1602895" cy="101418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900">
                <a:solidFill>
                  <a:schemeClr val="tx1"/>
                </a:solidFill>
              </a:rPr>
              <a:t>連絡事項の記載</a:t>
            </a:r>
            <a:endParaRPr lang="en-US" altLang="ja-JP" sz="900">
              <a:solidFill>
                <a:schemeClr val="tx1"/>
              </a:solidFill>
            </a:endParaRPr>
          </a:p>
          <a:p>
            <a:pPr marL="285750" indent="-285750">
              <a:buFont typeface="Wingdings" panose="05000000000000000000" pitchFamily="2" charset="2"/>
              <a:buChar char="ü"/>
            </a:pPr>
            <a:r>
              <a:rPr lang="ja-JP" altLang="en-US" sz="900">
                <a:solidFill>
                  <a:schemeClr val="tx1"/>
                </a:solidFill>
              </a:rPr>
              <a:t>ルート設定</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900">
                <a:solidFill>
                  <a:schemeClr val="tx1"/>
                </a:solidFill>
              </a:rPr>
              <a:t>次工程へ通知</a:t>
            </a:r>
            <a:endParaRPr lang="en-US" altLang="ja-JP" sz="900">
              <a:solidFill>
                <a:schemeClr val="tx1"/>
              </a:solidFill>
            </a:endParaRPr>
          </a:p>
        </p:txBody>
      </p:sp>
      <p:sp>
        <p:nvSpPr>
          <p:cNvPr id="9" name="フローチャート: 結合子 8">
            <a:extLst>
              <a:ext uri="{FF2B5EF4-FFF2-40B4-BE49-F238E27FC236}">
                <a16:creationId xmlns:a16="http://schemas.microsoft.com/office/drawing/2014/main" id="{F0D358A8-4E9C-0994-ABAA-6726E9B318E9}"/>
              </a:ext>
            </a:extLst>
          </p:cNvPr>
          <p:cNvSpPr/>
          <p:nvPr/>
        </p:nvSpPr>
        <p:spPr>
          <a:xfrm>
            <a:off x="7251148" y="2522680"/>
            <a:ext cx="390308" cy="353888"/>
          </a:xfrm>
          <a:prstGeom prst="flowChartConnector">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Yu Gothic UI"/>
                <a:ea typeface="Yu Gothic UI"/>
                <a:cs typeface="+mn-cs"/>
              </a:rPr>
              <a:t>1</a:t>
            </a:r>
            <a:endParaRPr kumimoji="1" lang="ja-JP" altLang="en-US" sz="110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34" name="四角形: 角を丸くする 33">
            <a:extLst>
              <a:ext uri="{FF2B5EF4-FFF2-40B4-BE49-F238E27FC236}">
                <a16:creationId xmlns:a16="http://schemas.microsoft.com/office/drawing/2014/main" id="{ECE8A43D-6A46-CEC6-C9CF-C76E2BD0033C}"/>
              </a:ext>
            </a:extLst>
          </p:cNvPr>
          <p:cNvSpPr/>
          <p:nvPr/>
        </p:nvSpPr>
        <p:spPr>
          <a:xfrm>
            <a:off x="941338" y="1913220"/>
            <a:ext cx="629983" cy="488950"/>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改訂依頼</a:t>
            </a:r>
          </a:p>
        </p:txBody>
      </p:sp>
      <p:cxnSp>
        <p:nvCxnSpPr>
          <p:cNvPr id="35" name="コネクタ: カギ線 34">
            <a:extLst>
              <a:ext uri="{FF2B5EF4-FFF2-40B4-BE49-F238E27FC236}">
                <a16:creationId xmlns:a16="http://schemas.microsoft.com/office/drawing/2014/main" id="{734F4EF4-62AC-C9EB-C6BB-745E50549648}"/>
              </a:ext>
            </a:extLst>
          </p:cNvPr>
          <p:cNvCxnSpPr>
            <a:cxnSpLocks/>
            <a:stCxn id="34" idx="3"/>
            <a:endCxn id="12" idx="0"/>
          </p:cNvCxnSpPr>
          <p:nvPr/>
        </p:nvCxnSpPr>
        <p:spPr>
          <a:xfrm>
            <a:off x="1571321" y="2157695"/>
            <a:ext cx="1042340" cy="31838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55" name="テキスト ボックス 54">
            <a:extLst>
              <a:ext uri="{FF2B5EF4-FFF2-40B4-BE49-F238E27FC236}">
                <a16:creationId xmlns:a16="http://schemas.microsoft.com/office/drawing/2014/main" id="{4EF2D752-836A-E232-AE3C-C4F55DD3E9A8}"/>
              </a:ext>
            </a:extLst>
          </p:cNvPr>
          <p:cNvSpPr txBox="1"/>
          <p:nvPr/>
        </p:nvSpPr>
        <p:spPr>
          <a:xfrm>
            <a:off x="2819826" y="1932245"/>
            <a:ext cx="2381712" cy="369332"/>
          </a:xfrm>
          <a:prstGeom prst="rect">
            <a:avLst/>
          </a:prstGeom>
          <a:noFill/>
        </p:spPr>
        <p:txBody>
          <a:bodyPr wrap="square">
            <a:spAutoFit/>
          </a:bodyPr>
          <a:lstStyle/>
          <a:p>
            <a:pPr marL="285750" indent="-285750">
              <a:buFont typeface="Wingdings" panose="05000000000000000000" pitchFamily="2" charset="2"/>
              <a:buChar char="ü"/>
            </a:pPr>
            <a:r>
              <a:rPr kumimoji="1" lang="ja-JP" altLang="en-US" sz="900">
                <a:solidFill>
                  <a:schemeClr val="tx1"/>
                </a:solidFill>
              </a:rPr>
              <a:t>初期登録画面の入力</a:t>
            </a:r>
            <a:endParaRPr kumimoji="1" lang="en-US" altLang="ja-JP" sz="900">
              <a:solidFill>
                <a:schemeClr val="tx1"/>
              </a:solidFill>
            </a:endParaRPr>
          </a:p>
          <a:p>
            <a:pPr marL="285750" indent="-285750">
              <a:buFont typeface="Wingdings" panose="05000000000000000000" pitchFamily="2" charset="2"/>
              <a:buChar char="ü"/>
            </a:pPr>
            <a:r>
              <a:rPr kumimoji="1" lang="ja-JP" altLang="en-US" sz="900">
                <a:solidFill>
                  <a:schemeClr val="tx1"/>
                </a:solidFill>
              </a:rPr>
              <a:t>納入仕様書の情報入力</a:t>
            </a:r>
            <a:endParaRPr kumimoji="1" lang="en-US" altLang="ja-JP" sz="900">
              <a:solidFill>
                <a:schemeClr val="tx1"/>
              </a:solidFill>
            </a:endParaRPr>
          </a:p>
        </p:txBody>
      </p:sp>
      <p:cxnSp>
        <p:nvCxnSpPr>
          <p:cNvPr id="7" name="コネクタ: カギ線 6">
            <a:extLst>
              <a:ext uri="{FF2B5EF4-FFF2-40B4-BE49-F238E27FC236}">
                <a16:creationId xmlns:a16="http://schemas.microsoft.com/office/drawing/2014/main" id="{29E25FDD-01F8-6930-9CAF-51B155145E86}"/>
              </a:ext>
            </a:extLst>
          </p:cNvPr>
          <p:cNvCxnSpPr>
            <a:cxnSpLocks/>
            <a:stCxn id="18" idx="3"/>
          </p:cNvCxnSpPr>
          <p:nvPr/>
        </p:nvCxnSpPr>
        <p:spPr>
          <a:xfrm flipV="1">
            <a:off x="3053989" y="2704423"/>
            <a:ext cx="4210923" cy="1031338"/>
          </a:xfrm>
          <a:prstGeom prst="bentConnector3">
            <a:avLst>
              <a:gd name="adj1" fmla="val 3115"/>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正方形/長方形 15">
            <a:extLst>
              <a:ext uri="{FF2B5EF4-FFF2-40B4-BE49-F238E27FC236}">
                <a16:creationId xmlns:a16="http://schemas.microsoft.com/office/drawing/2014/main" id="{99EC6E50-1FDF-9B8E-BAEE-B8D89F22F89C}"/>
              </a:ext>
            </a:extLst>
          </p:cNvPr>
          <p:cNvSpPr/>
          <p:nvPr/>
        </p:nvSpPr>
        <p:spPr>
          <a:xfrm>
            <a:off x="561255" y="3301613"/>
            <a:ext cx="1602895" cy="101418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900">
                <a:solidFill>
                  <a:schemeClr val="tx1"/>
                </a:solidFill>
              </a:rPr>
              <a:t>連絡事項の記載</a:t>
            </a:r>
            <a:endParaRPr lang="en-US" altLang="ja-JP" sz="900">
              <a:solidFill>
                <a:schemeClr val="tx1"/>
              </a:solidFill>
            </a:endParaRPr>
          </a:p>
          <a:p>
            <a:pPr marL="285750" indent="-285750">
              <a:buFont typeface="Wingdings" panose="05000000000000000000" pitchFamily="2" charset="2"/>
              <a:buChar char="ü"/>
            </a:pPr>
            <a:r>
              <a:rPr lang="ja-JP" altLang="en-US" sz="900">
                <a:solidFill>
                  <a:schemeClr val="tx1"/>
                </a:solidFill>
              </a:rPr>
              <a:t>ルート設定</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900">
                <a:solidFill>
                  <a:schemeClr val="tx1"/>
                </a:solidFill>
              </a:rPr>
              <a:t>次工程へ通知</a:t>
            </a:r>
            <a:endParaRPr lang="en-US" altLang="ja-JP" sz="900">
              <a:solidFill>
                <a:schemeClr val="tx1"/>
              </a:solidFill>
            </a:endParaRPr>
          </a:p>
        </p:txBody>
      </p:sp>
      <p:cxnSp>
        <p:nvCxnSpPr>
          <p:cNvPr id="25" name="コネクタ: カギ線 24">
            <a:extLst>
              <a:ext uri="{FF2B5EF4-FFF2-40B4-BE49-F238E27FC236}">
                <a16:creationId xmlns:a16="http://schemas.microsoft.com/office/drawing/2014/main" id="{DB29F11D-DAC4-045F-73DB-F32AF41B0468}"/>
              </a:ext>
            </a:extLst>
          </p:cNvPr>
          <p:cNvCxnSpPr>
            <a:cxnSpLocks/>
            <a:stCxn id="8" idx="3"/>
          </p:cNvCxnSpPr>
          <p:nvPr/>
        </p:nvCxnSpPr>
        <p:spPr>
          <a:xfrm flipV="1">
            <a:off x="3039123" y="3740560"/>
            <a:ext cx="440484" cy="116871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80" name="ひし形 79">
            <a:extLst>
              <a:ext uri="{FF2B5EF4-FFF2-40B4-BE49-F238E27FC236}">
                <a16:creationId xmlns:a16="http://schemas.microsoft.com/office/drawing/2014/main" id="{451C5914-CD2F-8A4E-297D-DD85F7986712}"/>
              </a:ext>
            </a:extLst>
          </p:cNvPr>
          <p:cNvSpPr/>
          <p:nvPr/>
        </p:nvSpPr>
        <p:spPr>
          <a:xfrm>
            <a:off x="3487131" y="3512899"/>
            <a:ext cx="880656" cy="488950"/>
          </a:xfrm>
          <a:prstGeom prst="diamond">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確認・承認③</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81" name="ひし形 80">
            <a:extLst>
              <a:ext uri="{FF2B5EF4-FFF2-40B4-BE49-F238E27FC236}">
                <a16:creationId xmlns:a16="http://schemas.microsoft.com/office/drawing/2014/main" id="{561D98B6-4E74-67D4-9AAE-31D711C95941}"/>
              </a:ext>
            </a:extLst>
          </p:cNvPr>
          <p:cNvSpPr/>
          <p:nvPr/>
        </p:nvSpPr>
        <p:spPr>
          <a:xfrm>
            <a:off x="3487131" y="4648380"/>
            <a:ext cx="880656" cy="488950"/>
          </a:xfrm>
          <a:prstGeom prst="diamond">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100">
                <a:solidFill>
                  <a:prstClr val="black"/>
                </a:solidFill>
                <a:latin typeface="Yu Gothic UI"/>
                <a:ea typeface="Yu Gothic UI"/>
              </a:rPr>
              <a:t>審査①</a:t>
            </a:r>
            <a:br>
              <a:rPr lang="en-US" altLang="ja-JP" sz="1100">
                <a:solidFill>
                  <a:prstClr val="black"/>
                </a:solidFill>
                <a:latin typeface="Yu Gothic UI"/>
                <a:ea typeface="Yu Gothic UI"/>
              </a:rPr>
            </a:br>
            <a:r>
              <a:rPr lang="ja-JP" altLang="en-US" sz="800">
                <a:solidFill>
                  <a:prstClr val="black"/>
                </a:solidFill>
                <a:latin typeface="Yu Gothic UI"/>
                <a:ea typeface="Yu Gothic UI"/>
              </a:rPr>
              <a:t>（確認審査部門①）</a:t>
            </a:r>
            <a:endParaRPr lang="ja-JP" altLang="en-US" sz="1100">
              <a:solidFill>
                <a:prstClr val="black"/>
              </a:solidFill>
              <a:latin typeface="Yu Gothic UI"/>
              <a:ea typeface="Yu Gothic UI"/>
            </a:endParaRPr>
          </a:p>
        </p:txBody>
      </p:sp>
      <p:cxnSp>
        <p:nvCxnSpPr>
          <p:cNvPr id="82" name="直線矢印コネクタ 81">
            <a:extLst>
              <a:ext uri="{FF2B5EF4-FFF2-40B4-BE49-F238E27FC236}">
                <a16:creationId xmlns:a16="http://schemas.microsoft.com/office/drawing/2014/main" id="{0349F1CC-C7A3-D5A6-C9AD-3066F84D8D09}"/>
              </a:ext>
            </a:extLst>
          </p:cNvPr>
          <p:cNvCxnSpPr>
            <a:cxnSpLocks/>
            <a:stCxn id="80" idx="2"/>
            <a:endCxn id="81" idx="0"/>
          </p:cNvCxnSpPr>
          <p:nvPr/>
        </p:nvCxnSpPr>
        <p:spPr>
          <a:xfrm>
            <a:off x="3927459" y="4001849"/>
            <a:ext cx="0" cy="6465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7" name="ひし形 86">
            <a:extLst>
              <a:ext uri="{FF2B5EF4-FFF2-40B4-BE49-F238E27FC236}">
                <a16:creationId xmlns:a16="http://schemas.microsoft.com/office/drawing/2014/main" id="{786A47EB-1507-CE73-3DBF-BEBFFE81D8E3}"/>
              </a:ext>
            </a:extLst>
          </p:cNvPr>
          <p:cNvSpPr/>
          <p:nvPr/>
        </p:nvSpPr>
        <p:spPr>
          <a:xfrm>
            <a:off x="4817857" y="4648380"/>
            <a:ext cx="880656" cy="488950"/>
          </a:xfrm>
          <a:prstGeom prst="diamond">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100">
                <a:solidFill>
                  <a:prstClr val="black"/>
                </a:solidFill>
                <a:latin typeface="Yu Gothic UI"/>
                <a:ea typeface="Yu Gothic UI"/>
              </a:rPr>
              <a:t>審査②</a:t>
            </a:r>
            <a:endParaRPr lang="en-US" altLang="ja-JP" sz="1100">
              <a:solidFill>
                <a:prstClr val="black"/>
              </a:solidFill>
              <a:latin typeface="Yu Gothic UI"/>
              <a:ea typeface="Yu Gothic UI"/>
            </a:endParaRPr>
          </a:p>
          <a:p>
            <a:pPr algn="ctr"/>
            <a:r>
              <a:rPr kumimoji="1" lang="ja-JP" altLang="en-US" sz="800" b="0" i="0" u="none" strike="noStrike" kern="1200" cap="none" spc="0" normalizeH="0" baseline="0" noProof="0">
                <a:ln>
                  <a:noFill/>
                </a:ln>
                <a:solidFill>
                  <a:prstClr val="black"/>
                </a:solidFill>
                <a:effectLst/>
                <a:uLnTx/>
                <a:uFillTx/>
                <a:latin typeface="Yu Gothic UI"/>
                <a:ea typeface="Yu Gothic UI"/>
                <a:cs typeface="+mn-cs"/>
              </a:rPr>
              <a:t>（確認審査部門②）</a:t>
            </a:r>
            <a:endParaRPr lang="ja-JP" altLang="en-US" sz="1100">
              <a:solidFill>
                <a:prstClr val="black"/>
              </a:solidFill>
              <a:latin typeface="Yu Gothic UI"/>
              <a:ea typeface="Yu Gothic UI"/>
            </a:endParaRPr>
          </a:p>
        </p:txBody>
      </p:sp>
      <p:sp>
        <p:nvSpPr>
          <p:cNvPr id="88" name="ひし形 87">
            <a:extLst>
              <a:ext uri="{FF2B5EF4-FFF2-40B4-BE49-F238E27FC236}">
                <a16:creationId xmlns:a16="http://schemas.microsoft.com/office/drawing/2014/main" id="{48B98219-35D5-5340-8EC6-B091AF3754BF}"/>
              </a:ext>
            </a:extLst>
          </p:cNvPr>
          <p:cNvSpPr/>
          <p:nvPr/>
        </p:nvSpPr>
        <p:spPr>
          <a:xfrm>
            <a:off x="4808115" y="3512899"/>
            <a:ext cx="880656" cy="488950"/>
          </a:xfrm>
          <a:prstGeom prst="diamond">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確認・承認④</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89" name="直線矢印コネクタ 88">
            <a:extLst>
              <a:ext uri="{FF2B5EF4-FFF2-40B4-BE49-F238E27FC236}">
                <a16:creationId xmlns:a16="http://schemas.microsoft.com/office/drawing/2014/main" id="{7B27CFD7-20E6-98AD-D7E7-09C2B94EA360}"/>
              </a:ext>
            </a:extLst>
          </p:cNvPr>
          <p:cNvCxnSpPr>
            <a:cxnSpLocks/>
          </p:cNvCxnSpPr>
          <p:nvPr/>
        </p:nvCxnSpPr>
        <p:spPr>
          <a:xfrm flipV="1">
            <a:off x="5258185" y="4001849"/>
            <a:ext cx="0" cy="646531"/>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cxnSp>
        <p:nvCxnSpPr>
          <p:cNvPr id="92" name="コネクタ: カギ線 91">
            <a:extLst>
              <a:ext uri="{FF2B5EF4-FFF2-40B4-BE49-F238E27FC236}">
                <a16:creationId xmlns:a16="http://schemas.microsoft.com/office/drawing/2014/main" id="{1F9691A9-43FD-85BD-D8EB-881FFC0D9832}"/>
              </a:ext>
            </a:extLst>
          </p:cNvPr>
          <p:cNvCxnSpPr>
            <a:cxnSpLocks/>
            <a:stCxn id="81" idx="3"/>
            <a:endCxn id="88" idx="1"/>
          </p:cNvCxnSpPr>
          <p:nvPr/>
        </p:nvCxnSpPr>
        <p:spPr>
          <a:xfrm flipV="1">
            <a:off x="4367787" y="3757374"/>
            <a:ext cx="440328" cy="113548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93" name="ひし形 92">
            <a:extLst>
              <a:ext uri="{FF2B5EF4-FFF2-40B4-BE49-F238E27FC236}">
                <a16:creationId xmlns:a16="http://schemas.microsoft.com/office/drawing/2014/main" id="{F3BF4D2C-2FA1-5B7F-DF8B-861845B58DC6}"/>
              </a:ext>
            </a:extLst>
          </p:cNvPr>
          <p:cNvSpPr/>
          <p:nvPr/>
        </p:nvSpPr>
        <p:spPr>
          <a:xfrm>
            <a:off x="5952045" y="3512899"/>
            <a:ext cx="880656" cy="488950"/>
          </a:xfrm>
          <a:prstGeom prst="diamond">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確認・承認⑤</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95" name="コネクタ: カギ線 94">
            <a:extLst>
              <a:ext uri="{FF2B5EF4-FFF2-40B4-BE49-F238E27FC236}">
                <a16:creationId xmlns:a16="http://schemas.microsoft.com/office/drawing/2014/main" id="{DD0034E0-27CC-1EB5-DB77-6913C63278A8}"/>
              </a:ext>
            </a:extLst>
          </p:cNvPr>
          <p:cNvCxnSpPr>
            <a:cxnSpLocks/>
            <a:stCxn id="87" idx="3"/>
            <a:endCxn id="93" idx="1"/>
          </p:cNvCxnSpPr>
          <p:nvPr/>
        </p:nvCxnSpPr>
        <p:spPr>
          <a:xfrm flipV="1">
            <a:off x="5698513" y="3757374"/>
            <a:ext cx="253532" cy="113548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1" name="直線矢印コネクタ 100">
            <a:extLst>
              <a:ext uri="{FF2B5EF4-FFF2-40B4-BE49-F238E27FC236}">
                <a16:creationId xmlns:a16="http://schemas.microsoft.com/office/drawing/2014/main" id="{DD648FF9-9C7F-348C-AA58-309A274AB02F}"/>
              </a:ext>
            </a:extLst>
          </p:cNvPr>
          <p:cNvCxnSpPr>
            <a:cxnSpLocks/>
          </p:cNvCxnSpPr>
          <p:nvPr/>
        </p:nvCxnSpPr>
        <p:spPr>
          <a:xfrm flipV="1">
            <a:off x="6387330" y="4001849"/>
            <a:ext cx="0" cy="1720078"/>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sp>
        <p:nvSpPr>
          <p:cNvPr id="109" name="ひし形 108">
            <a:extLst>
              <a:ext uri="{FF2B5EF4-FFF2-40B4-BE49-F238E27FC236}">
                <a16:creationId xmlns:a16="http://schemas.microsoft.com/office/drawing/2014/main" id="{CB8A7D57-F11F-AD00-0A07-2779B59C6C92}"/>
              </a:ext>
            </a:extLst>
          </p:cNvPr>
          <p:cNvSpPr/>
          <p:nvPr/>
        </p:nvSpPr>
        <p:spPr>
          <a:xfrm>
            <a:off x="5952045" y="5711038"/>
            <a:ext cx="880656" cy="488950"/>
          </a:xfrm>
          <a:prstGeom prst="diamond">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確認・承認</a:t>
            </a:r>
            <a:r>
              <a:rPr lang="ja-JP" altLang="en-US" sz="1100">
                <a:solidFill>
                  <a:prstClr val="black"/>
                </a:solidFill>
                <a:latin typeface="Yu Gothic UI"/>
                <a:ea typeface="Yu Gothic UI"/>
              </a:rPr>
              <a:t>⑥</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110" name="正方形/長方形 109">
            <a:extLst>
              <a:ext uri="{FF2B5EF4-FFF2-40B4-BE49-F238E27FC236}">
                <a16:creationId xmlns:a16="http://schemas.microsoft.com/office/drawing/2014/main" id="{71DBD4D0-625B-4DC1-F9BA-C083BDC45DA0}"/>
              </a:ext>
            </a:extLst>
          </p:cNvPr>
          <p:cNvSpPr/>
          <p:nvPr/>
        </p:nvSpPr>
        <p:spPr>
          <a:xfrm>
            <a:off x="4510036" y="5492778"/>
            <a:ext cx="1602895" cy="101418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900">
                <a:solidFill>
                  <a:schemeClr val="tx1"/>
                </a:solidFill>
              </a:rPr>
              <a:t>連絡事項の記載</a:t>
            </a:r>
            <a:endParaRPr lang="en-US" altLang="ja-JP" sz="900">
              <a:solidFill>
                <a:schemeClr val="tx1"/>
              </a:solidFill>
            </a:endParaRPr>
          </a:p>
          <a:p>
            <a:pPr marL="285750" indent="-285750">
              <a:buFont typeface="Wingdings" panose="05000000000000000000" pitchFamily="2" charset="2"/>
              <a:buChar char="ü"/>
            </a:pPr>
            <a:r>
              <a:rPr lang="ja-JP" altLang="en-US" sz="900">
                <a:solidFill>
                  <a:schemeClr val="tx1"/>
                </a:solidFill>
              </a:rPr>
              <a:t>ルート設定</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900">
                <a:solidFill>
                  <a:schemeClr val="tx1"/>
                </a:solidFill>
              </a:rPr>
              <a:t>次工程へ通知</a:t>
            </a:r>
            <a:endParaRPr lang="en-US" altLang="ja-JP" sz="900">
              <a:solidFill>
                <a:schemeClr val="tx1"/>
              </a:solidFill>
            </a:endParaRPr>
          </a:p>
        </p:txBody>
      </p:sp>
      <p:cxnSp>
        <p:nvCxnSpPr>
          <p:cNvPr id="116" name="コネクタ: カギ線 115">
            <a:extLst>
              <a:ext uri="{FF2B5EF4-FFF2-40B4-BE49-F238E27FC236}">
                <a16:creationId xmlns:a16="http://schemas.microsoft.com/office/drawing/2014/main" id="{2233A643-A684-E042-DA03-A247043E7C33}"/>
              </a:ext>
            </a:extLst>
          </p:cNvPr>
          <p:cNvCxnSpPr>
            <a:cxnSpLocks/>
            <a:endCxn id="9" idx="4"/>
          </p:cNvCxnSpPr>
          <p:nvPr/>
        </p:nvCxnSpPr>
        <p:spPr>
          <a:xfrm rot="5400000" flipH="1" flipV="1">
            <a:off x="5597503" y="4111765"/>
            <a:ext cx="3083996" cy="613602"/>
          </a:xfrm>
          <a:prstGeom prst="bentConnector3">
            <a:avLst>
              <a:gd name="adj1" fmla="val 359"/>
            </a:avLst>
          </a:prstGeom>
          <a:ln>
            <a:tailEnd type="triangle"/>
          </a:ln>
        </p:spPr>
        <p:style>
          <a:lnRef idx="1">
            <a:schemeClr val="accent1"/>
          </a:lnRef>
          <a:fillRef idx="0">
            <a:schemeClr val="accent1"/>
          </a:fillRef>
          <a:effectRef idx="0">
            <a:schemeClr val="accent1"/>
          </a:effectRef>
          <a:fontRef idx="minor">
            <a:schemeClr val="tx1"/>
          </a:fontRef>
        </p:style>
      </p:cxnSp>
      <p:sp>
        <p:nvSpPr>
          <p:cNvPr id="129" name="テキスト ボックス 128">
            <a:extLst>
              <a:ext uri="{FF2B5EF4-FFF2-40B4-BE49-F238E27FC236}">
                <a16:creationId xmlns:a16="http://schemas.microsoft.com/office/drawing/2014/main" id="{FC978FF0-2E6F-C0AC-43C5-53C3BF3B1CC2}"/>
              </a:ext>
            </a:extLst>
          </p:cNvPr>
          <p:cNvSpPr txBox="1"/>
          <p:nvPr/>
        </p:nvSpPr>
        <p:spPr>
          <a:xfrm>
            <a:off x="6041413" y="941442"/>
            <a:ext cx="622066" cy="230832"/>
          </a:xfrm>
          <a:prstGeom prst="rect">
            <a:avLst/>
          </a:prstGeom>
          <a:noFill/>
        </p:spPr>
        <p:txBody>
          <a:bodyPr wrap="square">
            <a:spAutoFit/>
          </a:bodyPr>
          <a:lstStyle/>
          <a:p>
            <a:r>
              <a:rPr kumimoji="1" lang="ja-JP" altLang="en-US" sz="900">
                <a:solidFill>
                  <a:schemeClr val="tx1"/>
                </a:solidFill>
              </a:rPr>
              <a:t>凡例：</a:t>
            </a:r>
            <a:endParaRPr kumimoji="1" lang="en-US" altLang="ja-JP" sz="900">
              <a:solidFill>
                <a:schemeClr val="tx1"/>
              </a:solidFill>
            </a:endParaRPr>
          </a:p>
        </p:txBody>
      </p:sp>
      <p:cxnSp>
        <p:nvCxnSpPr>
          <p:cNvPr id="131" name="直線コネクタ 130">
            <a:extLst>
              <a:ext uri="{FF2B5EF4-FFF2-40B4-BE49-F238E27FC236}">
                <a16:creationId xmlns:a16="http://schemas.microsoft.com/office/drawing/2014/main" id="{0A1C89F4-5737-0280-FBE1-21770F09955D}"/>
              </a:ext>
            </a:extLst>
          </p:cNvPr>
          <p:cNvCxnSpPr>
            <a:cxnSpLocks/>
          </p:cNvCxnSpPr>
          <p:nvPr/>
        </p:nvCxnSpPr>
        <p:spPr>
          <a:xfrm>
            <a:off x="6663479" y="1060541"/>
            <a:ext cx="469371" cy="0"/>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F93019CF-631D-87D2-E069-B43952A2632F}"/>
              </a:ext>
            </a:extLst>
          </p:cNvPr>
          <p:cNvSpPr txBox="1"/>
          <p:nvPr/>
        </p:nvSpPr>
        <p:spPr>
          <a:xfrm>
            <a:off x="6387331" y="1381063"/>
            <a:ext cx="2684670" cy="338554"/>
          </a:xfrm>
          <a:prstGeom prst="rect">
            <a:avLst/>
          </a:prstGeom>
          <a:noFill/>
        </p:spPr>
        <p:txBody>
          <a:bodyPr wrap="square">
            <a:spAutoFit/>
          </a:bodyPr>
          <a:lstStyle/>
          <a:p>
            <a:r>
              <a:rPr lang="en-US" altLang="ja-JP" sz="800"/>
              <a:t>※</a:t>
            </a:r>
            <a:r>
              <a:rPr lang="ja-JP" altLang="en-US" sz="800"/>
              <a:t>本</a:t>
            </a:r>
            <a:r>
              <a:rPr lang="en-US" altLang="ja-JP" sz="800"/>
              <a:t>WF</a:t>
            </a:r>
            <a:r>
              <a:rPr lang="ja-JP" altLang="en-US" sz="800"/>
              <a:t>は業務の全体感を示すために記載しています</a:t>
            </a:r>
            <a:endParaRPr lang="en-US" altLang="ja-JP" sz="800"/>
          </a:p>
          <a:p>
            <a:r>
              <a:rPr kumimoji="1" lang="ja-JP" altLang="en-US" sz="800">
                <a:solidFill>
                  <a:schemeClr val="tx1"/>
                </a:solidFill>
              </a:rPr>
              <a:t>　</a:t>
            </a:r>
            <a:r>
              <a:rPr lang="ja-JP" altLang="en-US" sz="800"/>
              <a:t>詳細な機能内容は</a:t>
            </a:r>
            <a:r>
              <a:rPr kumimoji="1" lang="ja-JP" altLang="en-US" sz="800">
                <a:solidFill>
                  <a:schemeClr val="tx1"/>
                </a:solidFill>
              </a:rPr>
              <a:t>機能一覧に記載しています</a:t>
            </a:r>
            <a:endParaRPr kumimoji="1" lang="en-US" altLang="ja-JP" sz="800">
              <a:solidFill>
                <a:schemeClr val="tx1"/>
              </a:solidFill>
            </a:endParaRPr>
          </a:p>
        </p:txBody>
      </p:sp>
      <p:sp>
        <p:nvSpPr>
          <p:cNvPr id="14" name="テキスト プレースホルダー 4">
            <a:extLst>
              <a:ext uri="{FF2B5EF4-FFF2-40B4-BE49-F238E27FC236}">
                <a16:creationId xmlns:a16="http://schemas.microsoft.com/office/drawing/2014/main" id="{FD2B0966-FF33-C8AB-B4EA-C1A2AEA7870C}"/>
              </a:ext>
            </a:extLst>
          </p:cNvPr>
          <p:cNvSpPr txBox="1">
            <a:spLocks/>
          </p:cNvSpPr>
          <p:nvPr/>
        </p:nvSpPr>
        <p:spPr>
          <a:xfrm>
            <a:off x="251524" y="1052963"/>
            <a:ext cx="8640950" cy="365125"/>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lang="ja-JP" altLang="en-US" sz="1800"/>
              <a:t>業務フロー</a:t>
            </a:r>
            <a:endParaRPr kumimoji="1" lang="en-US" altLang="zh-TW" sz="1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20" name="テキスト ボックス 19">
            <a:extLst>
              <a:ext uri="{FF2B5EF4-FFF2-40B4-BE49-F238E27FC236}">
                <a16:creationId xmlns:a16="http://schemas.microsoft.com/office/drawing/2014/main" id="{942FE903-F8E0-4BB7-4270-EDE421B63713}"/>
              </a:ext>
            </a:extLst>
          </p:cNvPr>
          <p:cNvSpPr txBox="1"/>
          <p:nvPr/>
        </p:nvSpPr>
        <p:spPr>
          <a:xfrm>
            <a:off x="7132849" y="941442"/>
            <a:ext cx="1939149" cy="230832"/>
          </a:xfrm>
          <a:prstGeom prst="rect">
            <a:avLst/>
          </a:prstGeom>
          <a:noFill/>
        </p:spPr>
        <p:txBody>
          <a:bodyPr wrap="square">
            <a:spAutoFit/>
          </a:body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900"/>
              <a:t>2.</a:t>
            </a:r>
            <a:r>
              <a:rPr kumimoji="1" lang="ja-JP" altLang="en-US" sz="900"/>
              <a:t>機能要件</a:t>
            </a:r>
            <a:r>
              <a:rPr kumimoji="1" lang="en-US" altLang="ja-JP" sz="900"/>
              <a:t>(1)</a:t>
            </a:r>
            <a:r>
              <a:rPr kumimoji="1" lang="ja-JP" altLang="en-US" sz="900"/>
              <a:t>機能要件一覧参照</a:t>
            </a:r>
            <a:endParaRPr kumimoji="1" lang="en-US" altLang="zh-TW"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Tree>
    <p:extLst>
      <p:ext uri="{BB962C8B-B14F-4D97-AF65-F5344CB8AC3E}">
        <p14:creationId xmlns:p14="http://schemas.microsoft.com/office/powerpoint/2010/main" val="6752576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a:extLst>
              <a:ext uri="{FF2B5EF4-FFF2-40B4-BE49-F238E27FC236}">
                <a16:creationId xmlns:a16="http://schemas.microsoft.com/office/drawing/2014/main" id="{DCEF3266-DC93-7D02-E395-398168C6044A}"/>
              </a:ext>
            </a:extLst>
          </p:cNvPr>
          <p:cNvGraphicFramePr>
            <a:graphicFrameLocks noGrp="1"/>
          </p:cNvGraphicFramePr>
          <p:nvPr>
            <p:extLst>
              <p:ext uri="{D42A27DB-BD31-4B8C-83A1-F6EECF244321}">
                <p14:modId xmlns:p14="http://schemas.microsoft.com/office/powerpoint/2010/main" val="1585693584"/>
              </p:ext>
            </p:extLst>
          </p:nvPr>
        </p:nvGraphicFramePr>
        <p:xfrm>
          <a:off x="72000" y="1364562"/>
          <a:ext cx="9000000" cy="5400939"/>
        </p:xfrm>
        <a:graphic>
          <a:graphicData uri="http://schemas.openxmlformats.org/drawingml/2006/table">
            <a:tbl>
              <a:tblPr firstRow="1" bandRow="1">
                <a:tableStyleId>{5C22544A-7EE6-4342-B048-85BDC9FD1C3A}</a:tableStyleId>
              </a:tblPr>
              <a:tblGrid>
                <a:gridCol w="540000">
                  <a:extLst>
                    <a:ext uri="{9D8B030D-6E8A-4147-A177-3AD203B41FA5}">
                      <a16:colId xmlns:a16="http://schemas.microsoft.com/office/drawing/2014/main" val="301329377"/>
                    </a:ext>
                  </a:extLst>
                </a:gridCol>
                <a:gridCol w="8460000">
                  <a:extLst>
                    <a:ext uri="{9D8B030D-6E8A-4147-A177-3AD203B41FA5}">
                      <a16:colId xmlns:a16="http://schemas.microsoft.com/office/drawing/2014/main" val="1027567464"/>
                    </a:ext>
                  </a:extLst>
                </a:gridCol>
              </a:tblGrid>
              <a:tr h="400126">
                <a:tc>
                  <a:txBody>
                    <a:bodyPr/>
                    <a:lstStyle/>
                    <a:p>
                      <a:endParaRPr kumimoji="1" lang="ja-JP" altLang="en-US"/>
                    </a:p>
                  </a:txBody>
                  <a:tcPr>
                    <a:solidFill>
                      <a:schemeClr val="accent1"/>
                    </a:solidFill>
                  </a:tcPr>
                </a:tc>
                <a:tc>
                  <a:txBody>
                    <a:bodyPr/>
                    <a:lstStyle/>
                    <a:p>
                      <a:r>
                        <a:rPr kumimoji="1" lang="ja-JP" altLang="en-US"/>
                        <a:t>業務種別　　</a:t>
                      </a:r>
                      <a:r>
                        <a:rPr kumimoji="1" lang="en-US" altLang="ja-JP"/>
                        <a:t>a.</a:t>
                      </a:r>
                      <a:r>
                        <a:rPr kumimoji="1" lang="ja-JP" altLang="en-US"/>
                        <a:t>納入仕様書作成</a:t>
                      </a:r>
                      <a:r>
                        <a:rPr kumimoji="1" lang="en-US" altLang="ja-JP"/>
                        <a:t>/</a:t>
                      </a:r>
                      <a:r>
                        <a:rPr kumimoji="1" lang="ja-JP" altLang="en-US"/>
                        <a:t>改訂（</a:t>
                      </a:r>
                      <a:r>
                        <a:rPr kumimoji="1" lang="en-US" altLang="ja-JP"/>
                        <a:t>WF</a:t>
                      </a:r>
                      <a:r>
                        <a:rPr kumimoji="1" lang="ja-JP" altLang="en-US"/>
                        <a:t>あり）</a:t>
                      </a:r>
                    </a:p>
                  </a:txBody>
                  <a:tcPr/>
                </a:tc>
                <a:extLst>
                  <a:ext uri="{0D108BD9-81ED-4DB2-BD59-A6C34878D82A}">
                    <a16:rowId xmlns:a16="http://schemas.microsoft.com/office/drawing/2014/main" val="2838924240"/>
                  </a:ext>
                </a:extLst>
              </a:tr>
              <a:tr h="1222421">
                <a:tc>
                  <a:txBody>
                    <a:bodyPr/>
                    <a:lstStyle/>
                    <a:p>
                      <a:r>
                        <a:rPr kumimoji="1" lang="ja-JP" altLang="en-US" sz="1050" b="1">
                          <a:solidFill>
                            <a:schemeClr val="bg1"/>
                          </a:solidFill>
                        </a:rPr>
                        <a:t>支店・支社</a:t>
                      </a:r>
                      <a:br>
                        <a:rPr kumimoji="1" lang="en-US" altLang="ja-JP" sz="1050" b="1">
                          <a:solidFill>
                            <a:schemeClr val="bg1"/>
                          </a:solidFill>
                        </a:rPr>
                      </a:br>
                      <a:r>
                        <a:rPr kumimoji="1" lang="en-US" altLang="ja-JP" sz="1050" b="1">
                          <a:solidFill>
                            <a:schemeClr val="bg1"/>
                          </a:solidFill>
                        </a:rPr>
                        <a:t>(</a:t>
                      </a:r>
                      <a:r>
                        <a:rPr kumimoji="1" lang="ja-JP" altLang="en-US" sz="1050" b="1">
                          <a:solidFill>
                            <a:schemeClr val="bg1"/>
                          </a:solidFill>
                        </a:rPr>
                        <a:t>営業部門</a:t>
                      </a:r>
                      <a:r>
                        <a:rPr kumimoji="1" lang="en-US" altLang="ja-JP" sz="1050" b="1">
                          <a:solidFill>
                            <a:schemeClr val="bg1"/>
                          </a:solidFill>
                        </a:rPr>
                        <a:t>)</a:t>
                      </a:r>
                      <a:endParaRPr kumimoji="1" lang="ja-JP" altLang="en-US" sz="1000" b="1">
                        <a:solidFill>
                          <a:schemeClr val="bg1"/>
                        </a:solidFill>
                      </a:endParaRPr>
                    </a:p>
                  </a:txBody>
                  <a:tcPr vert="wordArtVertRtl" anchor="ctr" anchorCtr="1">
                    <a:solidFill>
                      <a:schemeClr val="accent1"/>
                    </a:solidFill>
                  </a:tcPr>
                </a:tc>
                <a:tc>
                  <a:txBody>
                    <a:bodyPr/>
                    <a:lstStyle/>
                    <a:p>
                      <a:endParaRPr kumimoji="1" lang="ja-JP" altLang="en-US"/>
                    </a:p>
                  </a:txBody>
                  <a:tcPr/>
                </a:tc>
                <a:extLst>
                  <a:ext uri="{0D108BD9-81ED-4DB2-BD59-A6C34878D82A}">
                    <a16:rowId xmlns:a16="http://schemas.microsoft.com/office/drawing/2014/main" val="3028206946"/>
                  </a:ext>
                </a:extLst>
              </a:tr>
              <a:tr h="8149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a:ln>
                            <a:noFill/>
                          </a:ln>
                          <a:solidFill>
                            <a:prstClr val="white"/>
                          </a:solidFill>
                          <a:effectLst/>
                          <a:uLnTx/>
                          <a:uFillTx/>
                          <a:latin typeface="Yu Gothic UI"/>
                          <a:ea typeface="Yu Gothic UI"/>
                          <a:cs typeface="+mn-cs"/>
                        </a:rPr>
                        <a:t>事業部</a:t>
                      </a:r>
                      <a:r>
                        <a:rPr kumimoji="1" lang="en-US" altLang="ja-JP" sz="900" b="1" i="0" u="none" strike="noStrike" kern="1200" cap="none" spc="0" normalizeH="0" baseline="0" noProof="0">
                          <a:ln>
                            <a:noFill/>
                          </a:ln>
                          <a:solidFill>
                            <a:prstClr val="white"/>
                          </a:solidFill>
                          <a:effectLst/>
                          <a:uLnTx/>
                          <a:uFillTx/>
                          <a:latin typeface="Yu Gothic UI"/>
                          <a:ea typeface="Yu Gothic UI"/>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a:ln>
                            <a:noFill/>
                          </a:ln>
                          <a:solidFill>
                            <a:prstClr val="white"/>
                          </a:solidFill>
                          <a:effectLst/>
                          <a:uLnTx/>
                          <a:uFillTx/>
                          <a:latin typeface="Yu Gothic UI"/>
                          <a:ea typeface="Yu Gothic UI"/>
                          <a:cs typeface="+mn-cs"/>
                        </a:rPr>
                        <a:t>事業所</a:t>
                      </a:r>
                      <a:br>
                        <a:rPr kumimoji="1" lang="en-US" altLang="ja-JP" sz="700" b="1" i="0" u="none" strike="noStrike" kern="1200" cap="none" spc="0" normalizeH="0" baseline="0" noProof="0">
                          <a:ln>
                            <a:noFill/>
                          </a:ln>
                          <a:solidFill>
                            <a:prstClr val="white"/>
                          </a:solidFill>
                          <a:effectLst/>
                          <a:uLnTx/>
                          <a:uFillTx/>
                          <a:latin typeface="Yu Gothic UI"/>
                          <a:ea typeface="Yu Gothic UI"/>
                          <a:cs typeface="+mn-cs"/>
                        </a:rPr>
                      </a:br>
                      <a:r>
                        <a:rPr kumimoji="1" lang="ja-JP" altLang="en-US" sz="700" b="1" i="0" u="none" strike="noStrike" kern="1200" cap="none" spc="0" normalizeH="0" baseline="0" noProof="0">
                          <a:ln>
                            <a:noFill/>
                          </a:ln>
                          <a:solidFill>
                            <a:prstClr val="white"/>
                          </a:solidFill>
                          <a:effectLst/>
                          <a:uLnTx/>
                          <a:uFillTx/>
                          <a:latin typeface="Yu Gothic UI"/>
                          <a:ea typeface="Yu Gothic UI"/>
                          <a:cs typeface="+mn-cs"/>
                        </a:rPr>
                        <a:t>（窓口）</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mn-cs"/>
                      </a:endParaRPr>
                    </a:p>
                  </a:txBody>
                  <a:tcPr vert="wordArtVertRtl" anchor="ctr" anchorCtr="1">
                    <a:solidFill>
                      <a:schemeClr val="accent1"/>
                    </a:solidFill>
                  </a:tcPr>
                </a:tc>
                <a:tc>
                  <a:txBody>
                    <a:bodyPr/>
                    <a:lstStyle/>
                    <a:p>
                      <a:endParaRPr kumimoji="1" lang="ja-JP" altLang="en-US" sz="1100"/>
                    </a:p>
                  </a:txBody>
                  <a:tcPr/>
                </a:tc>
                <a:extLst>
                  <a:ext uri="{0D108BD9-81ED-4DB2-BD59-A6C34878D82A}">
                    <a16:rowId xmlns:a16="http://schemas.microsoft.com/office/drawing/2014/main" val="1928206092"/>
                  </a:ext>
                </a:extLst>
              </a:tr>
              <a:tr h="851991">
                <a:tc>
                  <a:txBody>
                    <a:bodyPr/>
                    <a:lstStyle/>
                    <a:p>
                      <a:r>
                        <a:rPr kumimoji="1" lang="ja-JP" altLang="en-US" sz="1050" b="1">
                          <a:solidFill>
                            <a:schemeClr val="bg1"/>
                          </a:solidFill>
                        </a:rPr>
                        <a:t>事業所</a:t>
                      </a:r>
                      <a:r>
                        <a:rPr kumimoji="1" lang="ja-JP" altLang="en-US" sz="700" b="1">
                          <a:solidFill>
                            <a:schemeClr val="bg1"/>
                          </a:solidFill>
                        </a:rPr>
                        <a:t>（作成部門）</a:t>
                      </a:r>
                      <a:endParaRPr kumimoji="1" lang="ja-JP" altLang="en-US" sz="1050" b="1">
                        <a:solidFill>
                          <a:schemeClr val="bg1"/>
                        </a:solidFill>
                      </a:endParaRPr>
                    </a:p>
                  </a:txBody>
                  <a:tcPr vert="wordArtVertRtl" anchor="ctr" anchorCtr="1">
                    <a:solidFill>
                      <a:schemeClr val="accent1"/>
                    </a:solidFill>
                  </a:tcPr>
                </a:tc>
                <a:tc>
                  <a:txBody>
                    <a:bodyPr/>
                    <a:lstStyle/>
                    <a:p>
                      <a:endParaRPr kumimoji="1" lang="ja-JP" altLang="en-US"/>
                    </a:p>
                  </a:txBody>
                  <a:tcPr/>
                </a:tc>
                <a:extLst>
                  <a:ext uri="{0D108BD9-81ED-4DB2-BD59-A6C34878D82A}">
                    <a16:rowId xmlns:a16="http://schemas.microsoft.com/office/drawing/2014/main" val="4039432576"/>
                  </a:ext>
                </a:extLst>
              </a:tr>
              <a:tr h="814947">
                <a:tc>
                  <a:txBody>
                    <a:bodyPr/>
                    <a:lstStyle/>
                    <a:p>
                      <a:r>
                        <a:rPr kumimoji="1" lang="ja-JP" altLang="en-US" sz="1100" b="1">
                          <a:solidFill>
                            <a:schemeClr val="bg1"/>
                          </a:solidFill>
                        </a:rPr>
                        <a:t>最終承認部門</a:t>
                      </a:r>
                    </a:p>
                  </a:txBody>
                  <a:tcPr vert="wordArtVertRtl" anchor="ctr" anchorCtr="1">
                    <a:solidFill>
                      <a:schemeClr val="accent1"/>
                    </a:solidFill>
                  </a:tcPr>
                </a:tc>
                <a:tc>
                  <a:txBody>
                    <a:bodyPr/>
                    <a:lstStyle/>
                    <a:p>
                      <a:endParaRPr kumimoji="1" lang="ja-JP" altLang="en-US"/>
                    </a:p>
                  </a:txBody>
                  <a:tcPr/>
                </a:tc>
                <a:extLst>
                  <a:ext uri="{0D108BD9-81ED-4DB2-BD59-A6C34878D82A}">
                    <a16:rowId xmlns:a16="http://schemas.microsoft.com/office/drawing/2014/main" val="2273411701"/>
                  </a:ext>
                </a:extLst>
              </a:tr>
              <a:tr h="1296507">
                <a:tc>
                  <a:txBody>
                    <a:bodyPr/>
                    <a:lstStyle/>
                    <a:p>
                      <a:r>
                        <a:rPr kumimoji="1" lang="ja-JP" altLang="en-US" sz="1100" b="1">
                          <a:solidFill>
                            <a:schemeClr val="bg1"/>
                          </a:solidFill>
                        </a:rPr>
                        <a:t>保管責任者</a:t>
                      </a:r>
                    </a:p>
                  </a:txBody>
                  <a:tcPr vert="wordArtVertRtl" anchor="ctr" anchorCtr="1">
                    <a:solidFill>
                      <a:schemeClr val="accent1"/>
                    </a:solidFill>
                  </a:tcPr>
                </a:tc>
                <a:tc>
                  <a:txBody>
                    <a:bodyPr/>
                    <a:lstStyle/>
                    <a:p>
                      <a:endParaRPr kumimoji="1" lang="ja-JP" altLang="en-US"/>
                    </a:p>
                  </a:txBody>
                  <a:tcPr/>
                </a:tc>
                <a:extLst>
                  <a:ext uri="{0D108BD9-81ED-4DB2-BD59-A6C34878D82A}">
                    <a16:rowId xmlns:a16="http://schemas.microsoft.com/office/drawing/2014/main" val="1266449226"/>
                  </a:ext>
                </a:extLst>
              </a:tr>
            </a:tbl>
          </a:graphicData>
        </a:graphic>
      </p:graphicFrame>
      <p:graphicFrame>
        <p:nvGraphicFramePr>
          <p:cNvPr id="5" name="think-cell data - do not delete" hidden="1">
            <a:extLst>
              <a:ext uri="{FF2B5EF4-FFF2-40B4-BE49-F238E27FC236}">
                <a16:creationId xmlns:a16="http://schemas.microsoft.com/office/drawing/2014/main" id="{BA976F1A-1F23-8E7A-9FE8-516548FD8E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5" name="think-cell data - do not delete" hidden="1">
                        <a:extLst>
                          <a:ext uri="{FF2B5EF4-FFF2-40B4-BE49-F238E27FC236}">
                            <a16:creationId xmlns:a16="http://schemas.microsoft.com/office/drawing/2014/main" id="{BA976F1A-1F23-8E7A-9FE8-516548FD8E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DEF3795D-40A6-30F0-9738-4A6C978F90FB}"/>
              </a:ext>
            </a:extLst>
          </p:cNvPr>
          <p:cNvSpPr>
            <a:spLocks noGrp="1"/>
          </p:cNvSpPr>
          <p:nvPr>
            <p:ph type="sldNum" sz="quarter" idx="12"/>
          </p:nvPr>
        </p:nvSpPr>
        <p:spPr>
          <a:xfrm>
            <a:off x="3505200" y="6432549"/>
            <a:ext cx="2133600" cy="365125"/>
          </a:xfrm>
        </p:spPr>
        <p:txBody>
          <a:bodyPr/>
          <a:lstStyle/>
          <a:p>
            <a:fld id="{98139188-682B-46B8-8E3A-C32D863D2EEC}" type="slidenum">
              <a:rPr lang="ja-JP" altLang="en-US" smtClean="0"/>
              <a:pPr/>
              <a:t>6</a:t>
            </a:fld>
            <a:endParaRPr lang="ja-JP" altLang="en-US"/>
          </a:p>
        </p:txBody>
      </p:sp>
      <p:sp>
        <p:nvSpPr>
          <p:cNvPr id="4" name="タイトル 3">
            <a:extLst>
              <a:ext uri="{FF2B5EF4-FFF2-40B4-BE49-F238E27FC236}">
                <a16:creationId xmlns:a16="http://schemas.microsoft.com/office/drawing/2014/main" id="{BE23AE77-CEAB-36A7-A61B-D1A32051ACD2}"/>
              </a:ext>
            </a:extLst>
          </p:cNvPr>
          <p:cNvSpPr>
            <a:spLocks noGrp="1"/>
          </p:cNvSpPr>
          <p:nvPr>
            <p:ph type="title"/>
          </p:nvPr>
        </p:nvSpPr>
        <p:spPr>
          <a:xfrm>
            <a:off x="251519" y="263966"/>
            <a:ext cx="7680208" cy="523220"/>
          </a:xfrm>
        </p:spPr>
        <p:txBody>
          <a:bodyPr vert="horz"/>
          <a:lstStyle/>
          <a:p>
            <a:r>
              <a:rPr kumimoji="1" lang="ja-JP" altLang="en-US"/>
              <a:t>１．業務要件</a:t>
            </a:r>
          </a:p>
        </p:txBody>
      </p:sp>
      <p:sp>
        <p:nvSpPr>
          <p:cNvPr id="14" name="フローチャート: 結合子 13">
            <a:extLst>
              <a:ext uri="{FF2B5EF4-FFF2-40B4-BE49-F238E27FC236}">
                <a16:creationId xmlns:a16="http://schemas.microsoft.com/office/drawing/2014/main" id="{45272D10-EC28-3B8A-ADD6-45BD8FF230DB}"/>
              </a:ext>
            </a:extLst>
          </p:cNvPr>
          <p:cNvSpPr/>
          <p:nvPr/>
        </p:nvSpPr>
        <p:spPr>
          <a:xfrm>
            <a:off x="656859" y="2012053"/>
            <a:ext cx="390308" cy="353888"/>
          </a:xfrm>
          <a:prstGeom prst="flowChartConnector">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prstClr val="black"/>
                </a:solidFill>
                <a:effectLst/>
                <a:uLnTx/>
                <a:uFillTx/>
                <a:latin typeface="Yu Gothic UI"/>
                <a:ea typeface="Yu Gothic UI"/>
                <a:cs typeface="+mn-cs"/>
              </a:rPr>
              <a:t>1</a:t>
            </a:r>
            <a:endParaRPr kumimoji="1" lang="ja-JP" altLang="en-US" sz="110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17" name="直線矢印コネクタ 16">
            <a:extLst>
              <a:ext uri="{FF2B5EF4-FFF2-40B4-BE49-F238E27FC236}">
                <a16:creationId xmlns:a16="http://schemas.microsoft.com/office/drawing/2014/main" id="{56F52A88-5BC3-2C1A-D3BB-3B6F8B48667F}"/>
              </a:ext>
            </a:extLst>
          </p:cNvPr>
          <p:cNvCxnSpPr>
            <a:cxnSpLocks/>
          </p:cNvCxnSpPr>
          <p:nvPr/>
        </p:nvCxnSpPr>
        <p:spPr>
          <a:xfrm>
            <a:off x="1047167" y="2189154"/>
            <a:ext cx="46392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正方形/長方形 19">
            <a:extLst>
              <a:ext uri="{FF2B5EF4-FFF2-40B4-BE49-F238E27FC236}">
                <a16:creationId xmlns:a16="http://schemas.microsoft.com/office/drawing/2014/main" id="{4EFF6E2C-C61E-8500-AA3A-2B498D500A81}"/>
              </a:ext>
            </a:extLst>
          </p:cNvPr>
          <p:cNvSpPr/>
          <p:nvPr/>
        </p:nvSpPr>
        <p:spPr>
          <a:xfrm>
            <a:off x="3453025" y="5595091"/>
            <a:ext cx="758056" cy="1850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900">
                <a:solidFill>
                  <a:schemeClr val="tx1"/>
                </a:solidFill>
              </a:rPr>
              <a:t>締結完了</a:t>
            </a:r>
            <a:endParaRPr lang="en-US" altLang="ja-JP" sz="900">
              <a:solidFill>
                <a:schemeClr val="tx1"/>
              </a:solidFill>
            </a:endParaRPr>
          </a:p>
        </p:txBody>
      </p:sp>
      <p:cxnSp>
        <p:nvCxnSpPr>
          <p:cNvPr id="21" name="コネクタ: カギ線 20">
            <a:extLst>
              <a:ext uri="{FF2B5EF4-FFF2-40B4-BE49-F238E27FC236}">
                <a16:creationId xmlns:a16="http://schemas.microsoft.com/office/drawing/2014/main" id="{362E92B5-CF51-847B-CD23-65A9BEFA1F7F}"/>
              </a:ext>
            </a:extLst>
          </p:cNvPr>
          <p:cNvCxnSpPr>
            <a:cxnSpLocks/>
            <a:stCxn id="62" idx="3"/>
            <a:endCxn id="25" idx="1"/>
          </p:cNvCxnSpPr>
          <p:nvPr/>
        </p:nvCxnSpPr>
        <p:spPr>
          <a:xfrm>
            <a:off x="3635200" y="2200299"/>
            <a:ext cx="882189" cy="426867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正方形/長方形 24">
            <a:extLst>
              <a:ext uri="{FF2B5EF4-FFF2-40B4-BE49-F238E27FC236}">
                <a16:creationId xmlns:a16="http://schemas.microsoft.com/office/drawing/2014/main" id="{F9DE7637-4942-547C-6548-82110984FE23}"/>
              </a:ext>
            </a:extLst>
          </p:cNvPr>
          <p:cNvSpPr/>
          <p:nvPr/>
        </p:nvSpPr>
        <p:spPr>
          <a:xfrm>
            <a:off x="4517389" y="6279775"/>
            <a:ext cx="1029616" cy="378393"/>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不成立処理</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31" name="正方形/長方形 30">
            <a:extLst>
              <a:ext uri="{FF2B5EF4-FFF2-40B4-BE49-F238E27FC236}">
                <a16:creationId xmlns:a16="http://schemas.microsoft.com/office/drawing/2014/main" id="{C021923C-2682-AAAC-FF40-D62BDF0507F7}"/>
              </a:ext>
            </a:extLst>
          </p:cNvPr>
          <p:cNvSpPr/>
          <p:nvPr/>
        </p:nvSpPr>
        <p:spPr>
          <a:xfrm>
            <a:off x="4517389" y="5589111"/>
            <a:ext cx="1029616" cy="378393"/>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prstClr val="black"/>
                </a:solidFill>
                <a:latin typeface="Yu Gothic UI"/>
                <a:ea typeface="Yu Gothic UI"/>
              </a:rPr>
              <a:t>締結</a:t>
            </a: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完了処理</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34" name="正方形/長方形 33">
            <a:extLst>
              <a:ext uri="{FF2B5EF4-FFF2-40B4-BE49-F238E27FC236}">
                <a16:creationId xmlns:a16="http://schemas.microsoft.com/office/drawing/2014/main" id="{BF9859E4-08FE-1780-4221-486D77C9B8B5}"/>
              </a:ext>
            </a:extLst>
          </p:cNvPr>
          <p:cNvSpPr/>
          <p:nvPr/>
        </p:nvSpPr>
        <p:spPr>
          <a:xfrm>
            <a:off x="3457791" y="6517493"/>
            <a:ext cx="1146488" cy="21665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900">
                <a:solidFill>
                  <a:schemeClr val="tx1"/>
                </a:solidFill>
              </a:rPr>
              <a:t>締結不成立</a:t>
            </a:r>
            <a:br>
              <a:rPr lang="en-US" altLang="ja-JP" sz="900">
                <a:solidFill>
                  <a:schemeClr val="tx1"/>
                </a:solidFill>
              </a:rPr>
            </a:br>
            <a:r>
              <a:rPr lang="ja-JP" altLang="en-US" sz="600">
                <a:solidFill>
                  <a:schemeClr val="tx1"/>
                </a:solidFill>
              </a:rPr>
              <a:t>（任意のタイミングで押下可）</a:t>
            </a:r>
            <a:endParaRPr lang="en-US" altLang="ja-JP" sz="900">
              <a:solidFill>
                <a:schemeClr val="tx1"/>
              </a:solidFill>
            </a:endParaRPr>
          </a:p>
        </p:txBody>
      </p:sp>
      <p:sp>
        <p:nvSpPr>
          <p:cNvPr id="35" name="正方形/長方形 34">
            <a:extLst>
              <a:ext uri="{FF2B5EF4-FFF2-40B4-BE49-F238E27FC236}">
                <a16:creationId xmlns:a16="http://schemas.microsoft.com/office/drawing/2014/main" id="{71EAC60E-DDA7-63D8-B716-976588EB3617}"/>
              </a:ext>
            </a:extLst>
          </p:cNvPr>
          <p:cNvSpPr/>
          <p:nvPr/>
        </p:nvSpPr>
        <p:spPr>
          <a:xfrm>
            <a:off x="4547252" y="5171229"/>
            <a:ext cx="2044545" cy="37521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ü"/>
            </a:pPr>
            <a:r>
              <a:rPr kumimoji="1" lang="ja-JP" altLang="en-US" sz="900">
                <a:solidFill>
                  <a:schemeClr val="tx1"/>
                </a:solidFill>
              </a:rPr>
              <a:t>締結完了版のシステム登録</a:t>
            </a:r>
            <a:endParaRPr kumimoji="1" lang="en-US" altLang="ja-JP" sz="900">
              <a:solidFill>
                <a:schemeClr val="tx1"/>
              </a:solidFill>
            </a:endParaRPr>
          </a:p>
          <a:p>
            <a:pPr marL="285750" indent="-285750">
              <a:buFont typeface="Wingdings" panose="05000000000000000000" pitchFamily="2" charset="2"/>
              <a:buChar char="ü"/>
            </a:pPr>
            <a:r>
              <a:rPr lang="ja-JP" altLang="en-US" sz="900">
                <a:solidFill>
                  <a:schemeClr val="tx1"/>
                </a:solidFill>
              </a:rPr>
              <a:t>関係者にメール送信</a:t>
            </a:r>
            <a:endParaRPr kumimoji="1" lang="en-US" altLang="ja-JP" sz="900">
              <a:solidFill>
                <a:schemeClr val="tx1"/>
              </a:solidFill>
            </a:endParaRPr>
          </a:p>
        </p:txBody>
      </p:sp>
      <p:sp>
        <p:nvSpPr>
          <p:cNvPr id="36" name="正方形/長方形 35">
            <a:extLst>
              <a:ext uri="{FF2B5EF4-FFF2-40B4-BE49-F238E27FC236}">
                <a16:creationId xmlns:a16="http://schemas.microsoft.com/office/drawing/2014/main" id="{395B37F0-0D5A-40CB-A88C-F93B8E090ED0}"/>
              </a:ext>
            </a:extLst>
          </p:cNvPr>
          <p:cNvSpPr/>
          <p:nvPr/>
        </p:nvSpPr>
        <p:spPr>
          <a:xfrm>
            <a:off x="4514533" y="5926797"/>
            <a:ext cx="2044545" cy="37521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ü"/>
            </a:pPr>
            <a:r>
              <a:rPr kumimoji="1" lang="ja-JP" altLang="en-US" sz="900">
                <a:solidFill>
                  <a:schemeClr val="tx1"/>
                </a:solidFill>
              </a:rPr>
              <a:t>締結不成立版のシステム登録</a:t>
            </a:r>
            <a:endParaRPr kumimoji="1" lang="en-US" altLang="ja-JP" sz="900">
              <a:solidFill>
                <a:schemeClr val="tx1"/>
              </a:solidFill>
            </a:endParaRPr>
          </a:p>
          <a:p>
            <a:pPr marL="285750" indent="-285750">
              <a:buFont typeface="Wingdings" panose="05000000000000000000" pitchFamily="2" charset="2"/>
              <a:buChar char="ü"/>
            </a:pPr>
            <a:r>
              <a:rPr lang="ja-JP" altLang="en-US" sz="900">
                <a:solidFill>
                  <a:schemeClr val="tx1"/>
                </a:solidFill>
              </a:rPr>
              <a:t>関係者にメール送信</a:t>
            </a:r>
            <a:endParaRPr kumimoji="1" lang="en-US" altLang="ja-JP" sz="900">
              <a:solidFill>
                <a:schemeClr val="tx1"/>
              </a:solidFill>
            </a:endParaRPr>
          </a:p>
        </p:txBody>
      </p:sp>
      <p:cxnSp>
        <p:nvCxnSpPr>
          <p:cNvPr id="44" name="直線矢印コネクタ 43">
            <a:extLst>
              <a:ext uri="{FF2B5EF4-FFF2-40B4-BE49-F238E27FC236}">
                <a16:creationId xmlns:a16="http://schemas.microsoft.com/office/drawing/2014/main" id="{C4071498-9474-2300-6081-707D82AB7E71}"/>
              </a:ext>
            </a:extLst>
          </p:cNvPr>
          <p:cNvCxnSpPr>
            <a:cxnSpLocks/>
            <a:stCxn id="31" idx="3"/>
            <a:endCxn id="47" idx="1"/>
          </p:cNvCxnSpPr>
          <p:nvPr/>
        </p:nvCxnSpPr>
        <p:spPr>
          <a:xfrm flipV="1">
            <a:off x="5547005" y="5778301"/>
            <a:ext cx="494408" cy="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直線矢印コネクタ 45">
            <a:extLst>
              <a:ext uri="{FF2B5EF4-FFF2-40B4-BE49-F238E27FC236}">
                <a16:creationId xmlns:a16="http://schemas.microsoft.com/office/drawing/2014/main" id="{55CF8AD7-E60A-3056-2968-7983C7F5C4A1}"/>
              </a:ext>
            </a:extLst>
          </p:cNvPr>
          <p:cNvCxnSpPr>
            <a:cxnSpLocks/>
          </p:cNvCxnSpPr>
          <p:nvPr/>
        </p:nvCxnSpPr>
        <p:spPr>
          <a:xfrm>
            <a:off x="5547005" y="6460932"/>
            <a:ext cx="49572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7" name="四角形: 角を丸くする 46">
            <a:extLst>
              <a:ext uri="{FF2B5EF4-FFF2-40B4-BE49-F238E27FC236}">
                <a16:creationId xmlns:a16="http://schemas.microsoft.com/office/drawing/2014/main" id="{504B4E28-3BFD-709B-8BD5-DECCAC3FBC3D}"/>
              </a:ext>
            </a:extLst>
          </p:cNvPr>
          <p:cNvSpPr/>
          <p:nvPr/>
        </p:nvSpPr>
        <p:spPr>
          <a:xfrm>
            <a:off x="6041413" y="5576255"/>
            <a:ext cx="622066" cy="404091"/>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作成完了</a:t>
            </a:r>
          </a:p>
        </p:txBody>
      </p:sp>
      <p:sp>
        <p:nvSpPr>
          <p:cNvPr id="48" name="四角形: 角を丸くする 47">
            <a:extLst>
              <a:ext uri="{FF2B5EF4-FFF2-40B4-BE49-F238E27FC236}">
                <a16:creationId xmlns:a16="http://schemas.microsoft.com/office/drawing/2014/main" id="{9A8B8CB7-C24F-AD19-432E-E5D68F28C566}"/>
              </a:ext>
            </a:extLst>
          </p:cNvPr>
          <p:cNvSpPr/>
          <p:nvPr/>
        </p:nvSpPr>
        <p:spPr>
          <a:xfrm>
            <a:off x="6041413" y="6266925"/>
            <a:ext cx="622066" cy="404091"/>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作成完了</a:t>
            </a:r>
          </a:p>
        </p:txBody>
      </p:sp>
      <p:sp>
        <p:nvSpPr>
          <p:cNvPr id="60" name="四角形: 角を丸くする 59">
            <a:extLst>
              <a:ext uri="{FF2B5EF4-FFF2-40B4-BE49-F238E27FC236}">
                <a16:creationId xmlns:a16="http://schemas.microsoft.com/office/drawing/2014/main" id="{3C8C469C-E8F2-97DE-81D9-3677ACD65DEF}"/>
              </a:ext>
            </a:extLst>
          </p:cNvPr>
          <p:cNvSpPr/>
          <p:nvPr/>
        </p:nvSpPr>
        <p:spPr>
          <a:xfrm>
            <a:off x="1511087" y="1998252"/>
            <a:ext cx="683179" cy="404091"/>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a:solidFill>
                  <a:schemeClr val="tx1"/>
                </a:solidFill>
              </a:rPr>
              <a:t>顧客確認</a:t>
            </a:r>
            <a:endParaRPr kumimoji="1" lang="ja-JP" altLang="en-US" sz="1200">
              <a:solidFill>
                <a:schemeClr val="tx1"/>
              </a:solidFill>
            </a:endParaRPr>
          </a:p>
        </p:txBody>
      </p:sp>
      <p:cxnSp>
        <p:nvCxnSpPr>
          <p:cNvPr id="61" name="直線矢印コネクタ 60">
            <a:extLst>
              <a:ext uri="{FF2B5EF4-FFF2-40B4-BE49-F238E27FC236}">
                <a16:creationId xmlns:a16="http://schemas.microsoft.com/office/drawing/2014/main" id="{C857A298-CF4A-78F5-301D-B1206B829A34}"/>
              </a:ext>
            </a:extLst>
          </p:cNvPr>
          <p:cNvCxnSpPr>
            <a:cxnSpLocks/>
          </p:cNvCxnSpPr>
          <p:nvPr/>
        </p:nvCxnSpPr>
        <p:spPr>
          <a:xfrm>
            <a:off x="2180092" y="2200299"/>
            <a:ext cx="417136" cy="18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2" name="正方形/長方形 61">
            <a:extLst>
              <a:ext uri="{FF2B5EF4-FFF2-40B4-BE49-F238E27FC236}">
                <a16:creationId xmlns:a16="http://schemas.microsoft.com/office/drawing/2014/main" id="{98A60C22-2AEC-2D31-CCD1-947EDF8FCBEE}"/>
              </a:ext>
            </a:extLst>
          </p:cNvPr>
          <p:cNvSpPr/>
          <p:nvPr/>
        </p:nvSpPr>
        <p:spPr>
          <a:xfrm>
            <a:off x="2605584" y="1971371"/>
            <a:ext cx="1029616" cy="457855"/>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顧客提出後処理</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63" name="正方形/長方形 62">
            <a:extLst>
              <a:ext uri="{FF2B5EF4-FFF2-40B4-BE49-F238E27FC236}">
                <a16:creationId xmlns:a16="http://schemas.microsoft.com/office/drawing/2014/main" id="{C54F0794-0124-DB29-0DF5-74F2B5E6D5BB}"/>
              </a:ext>
            </a:extLst>
          </p:cNvPr>
          <p:cNvSpPr/>
          <p:nvPr/>
        </p:nvSpPr>
        <p:spPr>
          <a:xfrm>
            <a:off x="2388660" y="2465961"/>
            <a:ext cx="1751547" cy="76493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ü"/>
            </a:pPr>
            <a:r>
              <a:rPr kumimoji="1" lang="ja-JP" altLang="en-US" sz="900">
                <a:solidFill>
                  <a:schemeClr val="tx1"/>
                </a:solidFill>
              </a:rPr>
              <a:t>顧客提出の連絡発信</a:t>
            </a:r>
            <a:endParaRPr kumimoji="1" lang="en-US" altLang="ja-JP" sz="900">
              <a:solidFill>
                <a:schemeClr val="tx1"/>
              </a:solidFill>
            </a:endParaRPr>
          </a:p>
          <a:p>
            <a:pPr marL="285750" indent="-285750">
              <a:buFont typeface="Wingdings" panose="05000000000000000000" pitchFamily="2" charset="2"/>
              <a:buChar char="ü"/>
            </a:pPr>
            <a:r>
              <a:rPr lang="ja-JP" altLang="en-US" sz="900">
                <a:solidFill>
                  <a:schemeClr val="tx1"/>
                </a:solidFill>
              </a:rPr>
              <a:t>担当者の変更</a:t>
            </a:r>
          </a:p>
          <a:p>
            <a:pPr marL="285750" indent="-285750">
              <a:buFont typeface="Wingdings" panose="05000000000000000000" pitchFamily="2" charset="2"/>
              <a:buChar char="ü"/>
            </a:pPr>
            <a:r>
              <a:rPr lang="ja-JP" altLang="en-US" sz="900">
                <a:solidFill>
                  <a:schemeClr val="tx1"/>
                </a:solidFill>
              </a:rPr>
              <a:t>連絡事項の記入</a:t>
            </a:r>
            <a:endParaRPr lang="en-US" altLang="ja-JP" sz="900">
              <a:solidFill>
                <a:schemeClr val="tx1"/>
              </a:solidFill>
            </a:endParaRPr>
          </a:p>
          <a:p>
            <a:endParaRPr lang="en-US" altLang="ja-JP" sz="900">
              <a:solidFill>
                <a:schemeClr val="tx1"/>
              </a:solidFill>
            </a:endParaRPr>
          </a:p>
          <a:p>
            <a:pPr marL="285750" indent="-285750">
              <a:buFont typeface="Wingdings" panose="05000000000000000000" pitchFamily="2" charset="2"/>
              <a:buChar char="ü"/>
            </a:pPr>
            <a:endParaRPr lang="en-US" altLang="ja-JP" sz="900">
              <a:solidFill>
                <a:schemeClr val="tx1"/>
              </a:solidFill>
            </a:endParaRPr>
          </a:p>
        </p:txBody>
      </p:sp>
      <p:sp>
        <p:nvSpPr>
          <p:cNvPr id="3" name="正方形/長方形 2">
            <a:extLst>
              <a:ext uri="{FF2B5EF4-FFF2-40B4-BE49-F238E27FC236}">
                <a16:creationId xmlns:a16="http://schemas.microsoft.com/office/drawing/2014/main" id="{AD04AFEF-C73B-87E0-C3D3-C42C2F3ACF7F}"/>
              </a:ext>
            </a:extLst>
          </p:cNvPr>
          <p:cNvSpPr/>
          <p:nvPr/>
        </p:nvSpPr>
        <p:spPr>
          <a:xfrm>
            <a:off x="805293" y="3609071"/>
            <a:ext cx="2408970" cy="2878673"/>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200">
                <a:solidFill>
                  <a:schemeClr val="tx1"/>
                </a:solidFill>
              </a:rPr>
              <a:t>■共通処理</a:t>
            </a:r>
            <a:endParaRPr kumimoji="1" lang="en-US" altLang="ja-JP" sz="1200">
              <a:solidFill>
                <a:schemeClr val="tx1"/>
              </a:solidFill>
            </a:endParaRPr>
          </a:p>
          <a:p>
            <a:pPr marL="171450" indent="-171450">
              <a:buFont typeface="Arial" panose="020B0604020202020204" pitchFamily="34" charset="0"/>
              <a:buChar char="•"/>
            </a:pPr>
            <a:r>
              <a:rPr kumimoji="1" lang="ja-JP" altLang="en-US" sz="1200">
                <a:solidFill>
                  <a:schemeClr val="tx1"/>
                </a:solidFill>
              </a:rPr>
              <a:t>承認クリア</a:t>
            </a:r>
            <a:endParaRPr kumimoji="1" lang="en-US" altLang="ja-JP" sz="1200">
              <a:solidFill>
                <a:schemeClr val="tx1"/>
              </a:solidFill>
            </a:endParaRPr>
          </a:p>
          <a:p>
            <a:pPr marL="171450" indent="-171450">
              <a:buFont typeface="Arial" panose="020B0604020202020204" pitchFamily="34" charset="0"/>
              <a:buChar char="•"/>
            </a:pPr>
            <a:r>
              <a:rPr lang="ja-JP" altLang="en-US" sz="1200">
                <a:solidFill>
                  <a:schemeClr val="tx1"/>
                </a:solidFill>
              </a:rPr>
              <a:t>差戻</a:t>
            </a:r>
            <a:endParaRPr kumimoji="1" lang="ja-JP" altLang="en-US" sz="1200">
              <a:solidFill>
                <a:schemeClr val="tx1"/>
              </a:solidFill>
            </a:endParaRPr>
          </a:p>
          <a:p>
            <a:pPr marL="171450" indent="-171450">
              <a:buFont typeface="Arial" panose="020B0604020202020204" pitchFamily="34" charset="0"/>
              <a:buChar char="•"/>
            </a:pPr>
            <a:r>
              <a:rPr kumimoji="1" lang="ja-JP" altLang="en-US" sz="1200">
                <a:solidFill>
                  <a:schemeClr val="tx1"/>
                </a:solidFill>
              </a:rPr>
              <a:t>文書削除</a:t>
            </a:r>
          </a:p>
          <a:p>
            <a:pPr marL="171450" indent="-171450">
              <a:buFont typeface="Arial" panose="020B0604020202020204" pitchFamily="34" charset="0"/>
              <a:buChar char="•"/>
            </a:pPr>
            <a:r>
              <a:rPr kumimoji="1" lang="ja-JP" altLang="en-US" sz="1200">
                <a:solidFill>
                  <a:schemeClr val="tx1"/>
                </a:solidFill>
              </a:rPr>
              <a:t>督促メール停止</a:t>
            </a:r>
          </a:p>
          <a:p>
            <a:pPr marL="171450" indent="-171450">
              <a:buFont typeface="Arial" panose="020B0604020202020204" pitchFamily="34" charset="0"/>
              <a:buChar char="•"/>
            </a:pPr>
            <a:r>
              <a:rPr kumimoji="1" lang="ja-JP" altLang="en-US" sz="1200">
                <a:solidFill>
                  <a:schemeClr val="tx1"/>
                </a:solidFill>
              </a:rPr>
              <a:t>関連文書</a:t>
            </a:r>
            <a:r>
              <a:rPr kumimoji="1" lang="en-US" altLang="ja-JP" sz="1200">
                <a:solidFill>
                  <a:schemeClr val="tx1"/>
                </a:solidFill>
              </a:rPr>
              <a:t>DB</a:t>
            </a:r>
            <a:r>
              <a:rPr kumimoji="1" lang="ja-JP" altLang="en-US" sz="1200">
                <a:solidFill>
                  <a:schemeClr val="tx1"/>
                </a:solidFill>
              </a:rPr>
              <a:t>参照</a:t>
            </a:r>
          </a:p>
          <a:p>
            <a:pPr marL="171450" indent="-171450">
              <a:buFont typeface="Arial" panose="020B0604020202020204" pitchFamily="34" charset="0"/>
              <a:buChar char="•"/>
            </a:pPr>
            <a:r>
              <a:rPr kumimoji="1" lang="ja-JP" altLang="en-US" sz="1200">
                <a:solidFill>
                  <a:schemeClr val="tx1"/>
                </a:solidFill>
              </a:rPr>
              <a:t>編集</a:t>
            </a:r>
          </a:p>
          <a:p>
            <a:pPr marL="171450" indent="-171450">
              <a:buFont typeface="Arial" panose="020B0604020202020204" pitchFamily="34" charset="0"/>
              <a:buChar char="•"/>
            </a:pPr>
            <a:r>
              <a:rPr kumimoji="1" lang="ja-JP" altLang="en-US" sz="1200">
                <a:solidFill>
                  <a:schemeClr val="tx1"/>
                </a:solidFill>
              </a:rPr>
              <a:t>保存終了</a:t>
            </a:r>
          </a:p>
          <a:p>
            <a:pPr marL="171450" indent="-171450">
              <a:buFont typeface="Arial" panose="020B0604020202020204" pitchFamily="34" charset="0"/>
              <a:buChar char="•"/>
            </a:pPr>
            <a:r>
              <a:rPr kumimoji="1" lang="ja-JP" altLang="en-US" sz="1200">
                <a:solidFill>
                  <a:schemeClr val="tx1"/>
                </a:solidFill>
              </a:rPr>
              <a:t>印刷</a:t>
            </a:r>
          </a:p>
          <a:p>
            <a:pPr marL="171450" indent="-171450">
              <a:buFont typeface="Arial" panose="020B0604020202020204" pitchFamily="34" charset="0"/>
              <a:buChar char="•"/>
            </a:pPr>
            <a:r>
              <a:rPr kumimoji="1" lang="ja-JP" altLang="en-US" sz="1200">
                <a:solidFill>
                  <a:schemeClr val="tx1"/>
                </a:solidFill>
              </a:rPr>
              <a:t>メール送信</a:t>
            </a:r>
          </a:p>
          <a:p>
            <a:pPr marL="171450" indent="-171450">
              <a:buFont typeface="Arial" panose="020B0604020202020204" pitchFamily="34" charset="0"/>
              <a:buChar char="•"/>
            </a:pPr>
            <a:r>
              <a:rPr kumimoji="1" lang="ja-JP" altLang="en-US" sz="1200">
                <a:solidFill>
                  <a:schemeClr val="tx1"/>
                </a:solidFill>
              </a:rPr>
              <a:t>本文閲覧</a:t>
            </a:r>
          </a:p>
          <a:p>
            <a:pPr marL="171450" indent="-171450">
              <a:buFont typeface="Arial" panose="020B0604020202020204" pitchFamily="34" charset="0"/>
              <a:buChar char="•"/>
            </a:pPr>
            <a:r>
              <a:rPr kumimoji="1" lang="ja-JP" altLang="en-US" sz="1200">
                <a:solidFill>
                  <a:schemeClr val="tx1"/>
                </a:solidFill>
              </a:rPr>
              <a:t>旧版閲覧</a:t>
            </a:r>
          </a:p>
          <a:p>
            <a:pPr marL="171450" indent="-171450">
              <a:buFont typeface="Arial" panose="020B0604020202020204" pitchFamily="34" charset="0"/>
              <a:buChar char="•"/>
            </a:pPr>
            <a:r>
              <a:rPr kumimoji="1" lang="ja-JP" altLang="en-US" sz="1200">
                <a:solidFill>
                  <a:schemeClr val="tx1"/>
                </a:solidFill>
              </a:rPr>
              <a:t>締結版閲覧</a:t>
            </a:r>
            <a:endParaRPr kumimoji="1" lang="en-US" altLang="ja-JP" sz="1200">
              <a:solidFill>
                <a:schemeClr val="tx1"/>
              </a:solidFill>
            </a:endParaRPr>
          </a:p>
          <a:p>
            <a:pPr marL="171450" indent="-171450">
              <a:buFont typeface="Arial" panose="020B0604020202020204" pitchFamily="34" charset="0"/>
              <a:buChar char="•"/>
            </a:pPr>
            <a:r>
              <a:rPr lang="ja-JP" altLang="en-US" sz="1200">
                <a:solidFill>
                  <a:schemeClr val="tx1"/>
                </a:solidFill>
              </a:rPr>
              <a:t>複数納入先分作成</a:t>
            </a:r>
            <a:endParaRPr lang="en-US" altLang="ja-JP" sz="1200">
              <a:solidFill>
                <a:schemeClr val="tx1"/>
              </a:solidFill>
            </a:endParaRPr>
          </a:p>
          <a:p>
            <a:pPr marL="171450" indent="-171450">
              <a:buFont typeface="Arial" panose="020B0604020202020204" pitchFamily="34" charset="0"/>
              <a:buChar char="•"/>
            </a:pPr>
            <a:r>
              <a:rPr kumimoji="1" lang="ja-JP" altLang="en-US" sz="1200">
                <a:solidFill>
                  <a:schemeClr val="tx1"/>
                </a:solidFill>
              </a:rPr>
              <a:t>ワークフロー一括更新</a:t>
            </a:r>
          </a:p>
        </p:txBody>
      </p:sp>
      <p:cxnSp>
        <p:nvCxnSpPr>
          <p:cNvPr id="9" name="コネクタ: カギ線 8">
            <a:extLst>
              <a:ext uri="{FF2B5EF4-FFF2-40B4-BE49-F238E27FC236}">
                <a16:creationId xmlns:a16="http://schemas.microsoft.com/office/drawing/2014/main" id="{F2F5083B-A84E-0391-5B2E-7E2C91B4FE83}"/>
              </a:ext>
            </a:extLst>
          </p:cNvPr>
          <p:cNvCxnSpPr>
            <a:cxnSpLocks/>
            <a:stCxn id="62" idx="3"/>
            <a:endCxn id="31" idx="1"/>
          </p:cNvCxnSpPr>
          <p:nvPr/>
        </p:nvCxnSpPr>
        <p:spPr>
          <a:xfrm>
            <a:off x="3635200" y="2200299"/>
            <a:ext cx="882189" cy="357800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a16="http://schemas.microsoft.com/office/drawing/2014/main" id="{3F1CB8D0-91A0-E355-F5FD-7C5C7BB4C62C}"/>
              </a:ext>
            </a:extLst>
          </p:cNvPr>
          <p:cNvSpPr txBox="1"/>
          <p:nvPr/>
        </p:nvSpPr>
        <p:spPr>
          <a:xfrm>
            <a:off x="7132849" y="941442"/>
            <a:ext cx="1939149" cy="230832"/>
          </a:xfrm>
          <a:prstGeom prst="rect">
            <a:avLst/>
          </a:prstGeom>
          <a:noFill/>
        </p:spPr>
        <p:txBody>
          <a:bodyPr wrap="square">
            <a:spAutoFit/>
          </a:body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900"/>
              <a:t>2.</a:t>
            </a:r>
            <a:r>
              <a:rPr kumimoji="1" lang="ja-JP" altLang="en-US" sz="900"/>
              <a:t>機能要件</a:t>
            </a:r>
            <a:r>
              <a:rPr kumimoji="1" lang="en-US" altLang="ja-JP" sz="900"/>
              <a:t>(1)</a:t>
            </a:r>
            <a:r>
              <a:rPr kumimoji="1" lang="ja-JP" altLang="en-US" sz="900"/>
              <a:t>機能要件一覧参照</a:t>
            </a:r>
            <a:endParaRPr kumimoji="1" lang="en-US" altLang="zh-TW"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13" name="テキスト ボックス 12">
            <a:extLst>
              <a:ext uri="{FF2B5EF4-FFF2-40B4-BE49-F238E27FC236}">
                <a16:creationId xmlns:a16="http://schemas.microsoft.com/office/drawing/2014/main" id="{3A072832-C27E-5BAB-F3B9-AB70C4EE918C}"/>
              </a:ext>
            </a:extLst>
          </p:cNvPr>
          <p:cNvSpPr txBox="1"/>
          <p:nvPr/>
        </p:nvSpPr>
        <p:spPr>
          <a:xfrm>
            <a:off x="6041413" y="941442"/>
            <a:ext cx="622066" cy="230832"/>
          </a:xfrm>
          <a:prstGeom prst="rect">
            <a:avLst/>
          </a:prstGeom>
          <a:noFill/>
        </p:spPr>
        <p:txBody>
          <a:bodyPr wrap="square">
            <a:spAutoFit/>
          </a:bodyPr>
          <a:lstStyle/>
          <a:p>
            <a:r>
              <a:rPr kumimoji="1" lang="ja-JP" altLang="en-US" sz="900">
                <a:solidFill>
                  <a:schemeClr val="tx1"/>
                </a:solidFill>
              </a:rPr>
              <a:t>凡例：</a:t>
            </a:r>
            <a:endParaRPr kumimoji="1" lang="en-US" altLang="ja-JP" sz="900">
              <a:solidFill>
                <a:schemeClr val="tx1"/>
              </a:solidFill>
            </a:endParaRPr>
          </a:p>
        </p:txBody>
      </p:sp>
      <p:cxnSp>
        <p:nvCxnSpPr>
          <p:cNvPr id="15" name="直線コネクタ 14">
            <a:extLst>
              <a:ext uri="{FF2B5EF4-FFF2-40B4-BE49-F238E27FC236}">
                <a16:creationId xmlns:a16="http://schemas.microsoft.com/office/drawing/2014/main" id="{B342F51B-11C6-1340-BD68-1BE7F4482E32}"/>
              </a:ext>
            </a:extLst>
          </p:cNvPr>
          <p:cNvCxnSpPr>
            <a:cxnSpLocks/>
          </p:cNvCxnSpPr>
          <p:nvPr/>
        </p:nvCxnSpPr>
        <p:spPr>
          <a:xfrm>
            <a:off x="6663479" y="1060541"/>
            <a:ext cx="469371" cy="0"/>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211F507A-E9EA-F428-8961-93739F3A269A}"/>
              </a:ext>
            </a:extLst>
          </p:cNvPr>
          <p:cNvSpPr txBox="1"/>
          <p:nvPr/>
        </p:nvSpPr>
        <p:spPr>
          <a:xfrm>
            <a:off x="6112932" y="1396773"/>
            <a:ext cx="3097382" cy="338554"/>
          </a:xfrm>
          <a:prstGeom prst="rect">
            <a:avLst/>
          </a:prstGeom>
          <a:noFill/>
        </p:spPr>
        <p:txBody>
          <a:bodyPr wrap="square">
            <a:spAutoFit/>
          </a:bodyPr>
          <a:lstStyle/>
          <a:p>
            <a:r>
              <a:rPr lang="en-US" altLang="ja-JP" sz="800"/>
              <a:t>※</a:t>
            </a:r>
            <a:r>
              <a:rPr lang="ja-JP" altLang="en-US" sz="800"/>
              <a:t>本</a:t>
            </a:r>
            <a:r>
              <a:rPr lang="en-US" altLang="ja-JP" sz="800"/>
              <a:t>WF</a:t>
            </a:r>
            <a:r>
              <a:rPr lang="ja-JP" altLang="en-US" sz="800"/>
              <a:t>は機能の全体感を示すために記載しています</a:t>
            </a:r>
            <a:endParaRPr lang="en-US" altLang="ja-JP" sz="800"/>
          </a:p>
          <a:p>
            <a:r>
              <a:rPr kumimoji="1" lang="ja-JP" altLang="en-US" sz="800">
                <a:solidFill>
                  <a:schemeClr val="tx1"/>
                </a:solidFill>
              </a:rPr>
              <a:t>　分岐としての差戻は機能一覧に記載しています</a:t>
            </a:r>
            <a:endParaRPr kumimoji="1" lang="en-US" altLang="ja-JP" sz="800">
              <a:solidFill>
                <a:schemeClr val="tx1"/>
              </a:solidFill>
            </a:endParaRPr>
          </a:p>
        </p:txBody>
      </p:sp>
      <p:cxnSp>
        <p:nvCxnSpPr>
          <p:cNvPr id="11" name="直線矢印コネクタ 10">
            <a:extLst>
              <a:ext uri="{FF2B5EF4-FFF2-40B4-BE49-F238E27FC236}">
                <a16:creationId xmlns:a16="http://schemas.microsoft.com/office/drawing/2014/main" id="{1738EC23-D352-3720-F879-5D3CB7099D51}"/>
              </a:ext>
            </a:extLst>
          </p:cNvPr>
          <p:cNvCxnSpPr>
            <a:cxnSpLocks/>
            <a:stCxn id="47" idx="3"/>
            <a:endCxn id="18" idx="1"/>
          </p:cNvCxnSpPr>
          <p:nvPr/>
        </p:nvCxnSpPr>
        <p:spPr>
          <a:xfrm>
            <a:off x="6663479" y="5778301"/>
            <a:ext cx="260124" cy="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正方形/長方形 17">
            <a:extLst>
              <a:ext uri="{FF2B5EF4-FFF2-40B4-BE49-F238E27FC236}">
                <a16:creationId xmlns:a16="http://schemas.microsoft.com/office/drawing/2014/main" id="{BE591354-F509-B457-9768-88AAAF10C51F}"/>
              </a:ext>
            </a:extLst>
          </p:cNvPr>
          <p:cNvSpPr/>
          <p:nvPr/>
        </p:nvSpPr>
        <p:spPr>
          <a:xfrm>
            <a:off x="6923603" y="5589111"/>
            <a:ext cx="1029616" cy="378393"/>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prstClr val="black"/>
                </a:solidFill>
                <a:latin typeface="Yu Gothic UI"/>
                <a:ea typeface="Yu Gothic UI"/>
              </a:rPr>
              <a:t>複数納入先分</a:t>
            </a:r>
            <a:endParaRPr lang="en-US" altLang="ja-JP" sz="1100">
              <a:solidFill>
                <a:prstClr val="black"/>
              </a:solidFill>
              <a:latin typeface="Yu Gothic UI"/>
              <a:ea typeface="Yu Gothic U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作成</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39" name="直線矢印コネクタ 38">
            <a:extLst>
              <a:ext uri="{FF2B5EF4-FFF2-40B4-BE49-F238E27FC236}">
                <a16:creationId xmlns:a16="http://schemas.microsoft.com/office/drawing/2014/main" id="{1BD1984F-F8BC-6854-474F-AEB631B72F8D}"/>
              </a:ext>
            </a:extLst>
          </p:cNvPr>
          <p:cNvCxnSpPr>
            <a:cxnSpLocks/>
          </p:cNvCxnSpPr>
          <p:nvPr/>
        </p:nvCxnSpPr>
        <p:spPr>
          <a:xfrm>
            <a:off x="7952341" y="5778308"/>
            <a:ext cx="31636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四角形: 角を丸くする 39">
            <a:extLst>
              <a:ext uri="{FF2B5EF4-FFF2-40B4-BE49-F238E27FC236}">
                <a16:creationId xmlns:a16="http://schemas.microsoft.com/office/drawing/2014/main" id="{31F049ED-A9AF-0975-33B3-C6DED614BCC7}"/>
              </a:ext>
            </a:extLst>
          </p:cNvPr>
          <p:cNvSpPr/>
          <p:nvPr/>
        </p:nvSpPr>
        <p:spPr>
          <a:xfrm>
            <a:off x="8284093" y="5576255"/>
            <a:ext cx="622066" cy="404091"/>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作成完了</a:t>
            </a:r>
          </a:p>
        </p:txBody>
      </p:sp>
      <p:sp>
        <p:nvSpPr>
          <p:cNvPr id="10" name="テキスト プレースホルダー 4">
            <a:extLst>
              <a:ext uri="{FF2B5EF4-FFF2-40B4-BE49-F238E27FC236}">
                <a16:creationId xmlns:a16="http://schemas.microsoft.com/office/drawing/2014/main" id="{7C71785F-2B2E-6DD4-39C7-DC4EEF03EAFF}"/>
              </a:ext>
            </a:extLst>
          </p:cNvPr>
          <p:cNvSpPr txBox="1">
            <a:spLocks/>
          </p:cNvSpPr>
          <p:nvPr/>
        </p:nvSpPr>
        <p:spPr>
          <a:xfrm>
            <a:off x="251524" y="1052963"/>
            <a:ext cx="8640950" cy="365125"/>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lang="ja-JP" altLang="en-US" sz="1800"/>
              <a:t>業務フロー</a:t>
            </a:r>
            <a:endParaRPr kumimoji="1" lang="en-US" altLang="zh-TW" sz="1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Tree>
    <p:extLst>
      <p:ext uri="{BB962C8B-B14F-4D97-AF65-F5344CB8AC3E}">
        <p14:creationId xmlns:p14="http://schemas.microsoft.com/office/powerpoint/2010/main" val="1016189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A976F1A-1F23-8E7A-9FE8-516548FD8E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5" name="think-cell data - do not delete" hidden="1">
                        <a:extLst>
                          <a:ext uri="{FF2B5EF4-FFF2-40B4-BE49-F238E27FC236}">
                            <a16:creationId xmlns:a16="http://schemas.microsoft.com/office/drawing/2014/main" id="{BA976F1A-1F23-8E7A-9FE8-516548FD8E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DEF3795D-40A6-30F0-9738-4A6C978F90FB}"/>
              </a:ext>
            </a:extLst>
          </p:cNvPr>
          <p:cNvSpPr>
            <a:spLocks noGrp="1"/>
          </p:cNvSpPr>
          <p:nvPr>
            <p:ph type="sldNum" sz="quarter" idx="12"/>
          </p:nvPr>
        </p:nvSpPr>
        <p:spPr/>
        <p:txBody>
          <a:bodyPr/>
          <a:lstStyle/>
          <a:p>
            <a:fld id="{98139188-682B-46B8-8E3A-C32D863D2EEC}" type="slidenum">
              <a:rPr lang="ja-JP" altLang="en-US" smtClean="0"/>
              <a:pPr/>
              <a:t>7</a:t>
            </a:fld>
            <a:endParaRPr lang="ja-JP" altLang="en-US"/>
          </a:p>
        </p:txBody>
      </p:sp>
      <p:sp>
        <p:nvSpPr>
          <p:cNvPr id="4" name="タイトル 3">
            <a:extLst>
              <a:ext uri="{FF2B5EF4-FFF2-40B4-BE49-F238E27FC236}">
                <a16:creationId xmlns:a16="http://schemas.microsoft.com/office/drawing/2014/main" id="{BE23AE77-CEAB-36A7-A61B-D1A32051ACD2}"/>
              </a:ext>
            </a:extLst>
          </p:cNvPr>
          <p:cNvSpPr>
            <a:spLocks noGrp="1"/>
          </p:cNvSpPr>
          <p:nvPr>
            <p:ph type="title"/>
          </p:nvPr>
        </p:nvSpPr>
        <p:spPr>
          <a:xfrm>
            <a:off x="251519" y="263966"/>
            <a:ext cx="7680208" cy="523220"/>
          </a:xfrm>
        </p:spPr>
        <p:txBody>
          <a:bodyPr vert="horz"/>
          <a:lstStyle/>
          <a:p>
            <a:r>
              <a:rPr kumimoji="1" lang="ja-JP" altLang="en-US"/>
              <a:t>１．業務要件</a:t>
            </a:r>
          </a:p>
        </p:txBody>
      </p:sp>
      <p:graphicFrame>
        <p:nvGraphicFramePr>
          <p:cNvPr id="6" name="表 7">
            <a:extLst>
              <a:ext uri="{FF2B5EF4-FFF2-40B4-BE49-F238E27FC236}">
                <a16:creationId xmlns:a16="http://schemas.microsoft.com/office/drawing/2014/main" id="{CA8E2A68-9716-173E-515E-C9C3A14F91D1}"/>
              </a:ext>
            </a:extLst>
          </p:cNvPr>
          <p:cNvGraphicFramePr>
            <a:graphicFrameLocks noGrp="1"/>
          </p:cNvGraphicFramePr>
          <p:nvPr/>
        </p:nvGraphicFramePr>
        <p:xfrm>
          <a:off x="72000" y="1381063"/>
          <a:ext cx="9000000" cy="2952571"/>
        </p:xfrm>
        <a:graphic>
          <a:graphicData uri="http://schemas.openxmlformats.org/drawingml/2006/table">
            <a:tbl>
              <a:tblPr firstRow="1" bandRow="1">
                <a:tableStyleId>{5C22544A-7EE6-4342-B048-85BDC9FD1C3A}</a:tableStyleId>
              </a:tblPr>
              <a:tblGrid>
                <a:gridCol w="540000">
                  <a:extLst>
                    <a:ext uri="{9D8B030D-6E8A-4147-A177-3AD203B41FA5}">
                      <a16:colId xmlns:a16="http://schemas.microsoft.com/office/drawing/2014/main" val="301329377"/>
                    </a:ext>
                  </a:extLst>
                </a:gridCol>
                <a:gridCol w="8460000">
                  <a:extLst>
                    <a:ext uri="{9D8B030D-6E8A-4147-A177-3AD203B41FA5}">
                      <a16:colId xmlns:a16="http://schemas.microsoft.com/office/drawing/2014/main" val="1027567464"/>
                    </a:ext>
                  </a:extLst>
                </a:gridCol>
              </a:tblGrid>
              <a:tr h="345337">
                <a:tc>
                  <a:txBody>
                    <a:bodyPr/>
                    <a:lstStyle/>
                    <a:p>
                      <a:endParaRPr kumimoji="1" lang="ja-JP" altLang="en-US"/>
                    </a:p>
                  </a:txBody>
                  <a:tcPr>
                    <a:solidFill>
                      <a:schemeClr val="accent1"/>
                    </a:solidFill>
                  </a:tcPr>
                </a:tc>
                <a:tc>
                  <a:txBody>
                    <a:bodyPr/>
                    <a:lstStyle/>
                    <a:p>
                      <a:pPr algn="l"/>
                      <a:r>
                        <a:rPr kumimoji="1" lang="ja-JP" altLang="en-US"/>
                        <a:t>業務種別　　</a:t>
                      </a:r>
                      <a:r>
                        <a:rPr kumimoji="1" lang="en-US" altLang="ja-JP" sz="1800" b="1">
                          <a:solidFill>
                            <a:schemeClr val="bg1"/>
                          </a:solidFill>
                        </a:rPr>
                        <a:t>b.</a:t>
                      </a:r>
                      <a:r>
                        <a:rPr kumimoji="1" lang="ja-JP" altLang="en-US" sz="1800" b="1">
                          <a:solidFill>
                            <a:schemeClr val="bg1"/>
                          </a:solidFill>
                        </a:rPr>
                        <a:t>納入仕様書締結済</a:t>
                      </a:r>
                      <a:r>
                        <a:rPr kumimoji="1" lang="en-US" altLang="ja-JP" sz="1800" b="1">
                          <a:solidFill>
                            <a:schemeClr val="bg1"/>
                          </a:solidFill>
                        </a:rPr>
                        <a:t>/</a:t>
                      </a:r>
                      <a:r>
                        <a:rPr kumimoji="1" lang="ja-JP" altLang="en-US" sz="1800" b="1">
                          <a:solidFill>
                            <a:schemeClr val="bg1"/>
                          </a:solidFill>
                        </a:rPr>
                        <a:t>契約不成立</a:t>
                      </a:r>
                      <a:r>
                        <a:rPr kumimoji="1" lang="en-US" altLang="ja-JP" sz="1800" b="1">
                          <a:solidFill>
                            <a:schemeClr val="bg1"/>
                          </a:solidFill>
                        </a:rPr>
                        <a:t>/</a:t>
                      </a:r>
                      <a:r>
                        <a:rPr kumimoji="1" lang="ja-JP" altLang="en-US" sz="1800" b="1">
                          <a:solidFill>
                            <a:schemeClr val="bg1"/>
                          </a:solidFill>
                        </a:rPr>
                        <a:t>改訂（</a:t>
                      </a:r>
                      <a:r>
                        <a:rPr kumimoji="1" lang="en-US" altLang="ja-JP" sz="1800" b="1">
                          <a:solidFill>
                            <a:schemeClr val="bg1"/>
                          </a:solidFill>
                        </a:rPr>
                        <a:t>WF</a:t>
                      </a:r>
                      <a:r>
                        <a:rPr kumimoji="1" lang="ja-JP" altLang="en-US" sz="1800" b="1">
                          <a:solidFill>
                            <a:schemeClr val="bg1"/>
                          </a:solidFill>
                        </a:rPr>
                        <a:t>なし） 登録</a:t>
                      </a:r>
                      <a:endParaRPr kumimoji="1" lang="en-US" altLang="ja-JP" sz="1800" b="1">
                        <a:solidFill>
                          <a:schemeClr val="bg1"/>
                        </a:solidFill>
                      </a:endParaRPr>
                    </a:p>
                  </a:txBody>
                  <a:tcPr/>
                </a:tc>
                <a:extLst>
                  <a:ext uri="{0D108BD9-81ED-4DB2-BD59-A6C34878D82A}">
                    <a16:rowId xmlns:a16="http://schemas.microsoft.com/office/drawing/2014/main" val="2838924240"/>
                  </a:ext>
                </a:extLst>
              </a:tr>
              <a:tr h="1456611">
                <a:tc>
                  <a:txBody>
                    <a:bodyPr/>
                    <a:lstStyle/>
                    <a:p>
                      <a:r>
                        <a:rPr kumimoji="1" lang="ja-JP" altLang="en-US" sz="1400" b="1">
                          <a:solidFill>
                            <a:schemeClr val="bg1"/>
                          </a:solidFill>
                        </a:rPr>
                        <a:t>登録者</a:t>
                      </a:r>
                      <a:endParaRPr kumimoji="1" lang="ja-JP" altLang="en-US" sz="1100" b="1">
                        <a:solidFill>
                          <a:schemeClr val="bg1"/>
                        </a:solidFill>
                      </a:endParaRPr>
                    </a:p>
                  </a:txBody>
                  <a:tcPr vert="wordArtVertRtl" anchor="ctr" anchorCtr="1">
                    <a:solidFill>
                      <a:schemeClr val="accent1"/>
                    </a:solidFill>
                  </a:tcPr>
                </a:tc>
                <a:tc>
                  <a:txBody>
                    <a:bodyPr/>
                    <a:lstStyle/>
                    <a:p>
                      <a:endParaRPr kumimoji="1" lang="ja-JP" altLang="en-US"/>
                    </a:p>
                  </a:txBody>
                  <a:tcPr/>
                </a:tc>
                <a:extLst>
                  <a:ext uri="{0D108BD9-81ED-4DB2-BD59-A6C34878D82A}">
                    <a16:rowId xmlns:a16="http://schemas.microsoft.com/office/drawing/2014/main" val="3028206946"/>
                  </a:ext>
                </a:extLst>
              </a:tr>
              <a:tr h="1130200">
                <a:tc>
                  <a:txBody>
                    <a:bodyPr/>
                    <a:lstStyle/>
                    <a:p>
                      <a:r>
                        <a:rPr kumimoji="1" lang="ja-JP" altLang="en-US" sz="1400" b="1">
                          <a:solidFill>
                            <a:schemeClr val="bg1"/>
                          </a:solidFill>
                        </a:rPr>
                        <a:t>関係者</a:t>
                      </a:r>
                    </a:p>
                  </a:txBody>
                  <a:tcPr vert="wordArtVertRtl" anchor="ctr" anchorCtr="1">
                    <a:solidFill>
                      <a:schemeClr val="accent1"/>
                    </a:solidFill>
                  </a:tcPr>
                </a:tc>
                <a:tc>
                  <a:txBody>
                    <a:bodyPr/>
                    <a:lstStyle/>
                    <a:p>
                      <a:endParaRPr kumimoji="1" lang="ja-JP" altLang="en-US"/>
                    </a:p>
                  </a:txBody>
                  <a:tcPr/>
                </a:tc>
                <a:extLst>
                  <a:ext uri="{0D108BD9-81ED-4DB2-BD59-A6C34878D82A}">
                    <a16:rowId xmlns:a16="http://schemas.microsoft.com/office/drawing/2014/main" val="1928206092"/>
                  </a:ext>
                </a:extLst>
              </a:tr>
            </a:tbl>
          </a:graphicData>
        </a:graphic>
      </p:graphicFrame>
      <p:sp>
        <p:nvSpPr>
          <p:cNvPr id="24" name="正方形/長方形 23">
            <a:extLst>
              <a:ext uri="{FF2B5EF4-FFF2-40B4-BE49-F238E27FC236}">
                <a16:creationId xmlns:a16="http://schemas.microsoft.com/office/drawing/2014/main" id="{4BA268D5-3E81-8FC7-590D-F4FC89AFFB8C}"/>
              </a:ext>
            </a:extLst>
          </p:cNvPr>
          <p:cNvSpPr/>
          <p:nvPr/>
        </p:nvSpPr>
        <p:spPr>
          <a:xfrm>
            <a:off x="3204453" y="2739660"/>
            <a:ext cx="1449437" cy="2823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ü"/>
            </a:pPr>
            <a:r>
              <a:rPr kumimoji="1" lang="ja-JP" altLang="en-US" sz="900">
                <a:solidFill>
                  <a:schemeClr val="tx1"/>
                </a:solidFill>
              </a:rPr>
              <a:t>必要項目の入力</a:t>
            </a:r>
            <a:endParaRPr kumimoji="1" lang="en-US" altLang="ja-JP" sz="900">
              <a:solidFill>
                <a:schemeClr val="tx1"/>
              </a:solidFill>
            </a:endParaRPr>
          </a:p>
          <a:p>
            <a:pPr marL="285750" indent="-285750">
              <a:buFont typeface="Wingdings" panose="05000000000000000000" pitchFamily="2" charset="2"/>
              <a:buChar char="ü"/>
            </a:pPr>
            <a:r>
              <a:rPr kumimoji="1" lang="ja-JP" altLang="en-US" sz="900">
                <a:solidFill>
                  <a:schemeClr val="tx1"/>
                </a:solidFill>
              </a:rPr>
              <a:t>関係者への通知</a:t>
            </a:r>
            <a:endParaRPr kumimoji="1" lang="en-US" altLang="ja-JP" sz="900">
              <a:solidFill>
                <a:schemeClr val="tx1"/>
              </a:solidFill>
            </a:endParaRPr>
          </a:p>
        </p:txBody>
      </p:sp>
      <p:sp>
        <p:nvSpPr>
          <p:cNvPr id="11" name="四角形: 角を丸くする 10">
            <a:extLst>
              <a:ext uri="{FF2B5EF4-FFF2-40B4-BE49-F238E27FC236}">
                <a16:creationId xmlns:a16="http://schemas.microsoft.com/office/drawing/2014/main" id="{371DE847-BA56-99A2-E649-8F373E199388}"/>
              </a:ext>
            </a:extLst>
          </p:cNvPr>
          <p:cNvSpPr/>
          <p:nvPr/>
        </p:nvSpPr>
        <p:spPr>
          <a:xfrm>
            <a:off x="941337" y="2105356"/>
            <a:ext cx="1449437" cy="575567"/>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締結済</a:t>
            </a:r>
            <a:r>
              <a:rPr kumimoji="1" lang="en-US" altLang="ja-JP" sz="1200">
                <a:solidFill>
                  <a:schemeClr val="tx1"/>
                </a:solidFill>
              </a:rPr>
              <a:t>/</a:t>
            </a:r>
            <a:r>
              <a:rPr kumimoji="1" lang="ja-JP" altLang="en-US" sz="1200">
                <a:solidFill>
                  <a:schemeClr val="tx1"/>
                </a:solidFill>
              </a:rPr>
              <a:t>契約不成立 納入仕様書の登録</a:t>
            </a:r>
            <a:endParaRPr kumimoji="1" lang="en-US" altLang="ja-JP" sz="1200">
              <a:solidFill>
                <a:schemeClr val="tx1"/>
              </a:solidFill>
            </a:endParaRPr>
          </a:p>
        </p:txBody>
      </p:sp>
      <p:sp>
        <p:nvSpPr>
          <p:cNvPr id="12" name="正方形/長方形 11">
            <a:extLst>
              <a:ext uri="{FF2B5EF4-FFF2-40B4-BE49-F238E27FC236}">
                <a16:creationId xmlns:a16="http://schemas.microsoft.com/office/drawing/2014/main" id="{AF21F060-AC45-A167-5EEE-551D27EE6B1C}"/>
              </a:ext>
            </a:extLst>
          </p:cNvPr>
          <p:cNvSpPr/>
          <p:nvPr/>
        </p:nvSpPr>
        <p:spPr>
          <a:xfrm>
            <a:off x="3246600" y="2088436"/>
            <a:ext cx="1029616" cy="609406"/>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tx1"/>
                </a:solidFill>
              </a:rPr>
              <a:t>締結済</a:t>
            </a:r>
            <a:r>
              <a:rPr kumimoji="1" lang="en-US" altLang="ja-JP" sz="1100">
                <a:solidFill>
                  <a:schemeClr val="tx1"/>
                </a:solidFill>
              </a:rPr>
              <a:t>/</a:t>
            </a:r>
            <a:r>
              <a:rPr kumimoji="1" lang="ja-JP" altLang="en-US" sz="1100">
                <a:solidFill>
                  <a:schemeClr val="tx1"/>
                </a:solidFill>
              </a:rPr>
              <a:t>契約不成立 </a:t>
            </a:r>
            <a:br>
              <a:rPr kumimoji="1" lang="en-US" altLang="ja-JP" sz="1100">
                <a:solidFill>
                  <a:schemeClr val="tx1"/>
                </a:solidFill>
              </a:rPr>
            </a:br>
            <a:r>
              <a:rPr kumimoji="1" lang="ja-JP" altLang="en-US" sz="1100">
                <a:solidFill>
                  <a:schemeClr val="tx1"/>
                </a:solidFill>
              </a:rPr>
              <a:t>納入仕様書作成</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15" name="直線矢印コネクタ 14">
            <a:extLst>
              <a:ext uri="{FF2B5EF4-FFF2-40B4-BE49-F238E27FC236}">
                <a16:creationId xmlns:a16="http://schemas.microsoft.com/office/drawing/2014/main" id="{C87BA8EC-7174-71B5-D5A5-300FD6EECE38}"/>
              </a:ext>
            </a:extLst>
          </p:cNvPr>
          <p:cNvCxnSpPr>
            <a:cxnSpLocks/>
            <a:stCxn id="11" idx="3"/>
            <a:endCxn id="12" idx="1"/>
          </p:cNvCxnSpPr>
          <p:nvPr/>
        </p:nvCxnSpPr>
        <p:spPr>
          <a:xfrm flipV="1">
            <a:off x="2390774" y="2393139"/>
            <a:ext cx="855826"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四角形: 角を丸くする 29">
            <a:extLst>
              <a:ext uri="{FF2B5EF4-FFF2-40B4-BE49-F238E27FC236}">
                <a16:creationId xmlns:a16="http://schemas.microsoft.com/office/drawing/2014/main" id="{53CBC460-326C-EC45-DD03-B30640B1DC27}"/>
              </a:ext>
            </a:extLst>
          </p:cNvPr>
          <p:cNvSpPr/>
          <p:nvPr/>
        </p:nvSpPr>
        <p:spPr>
          <a:xfrm>
            <a:off x="5222813" y="2042348"/>
            <a:ext cx="677909" cy="701584"/>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完了</a:t>
            </a:r>
          </a:p>
        </p:txBody>
      </p:sp>
      <p:cxnSp>
        <p:nvCxnSpPr>
          <p:cNvPr id="31" name="直線矢印コネクタ 30">
            <a:extLst>
              <a:ext uri="{FF2B5EF4-FFF2-40B4-BE49-F238E27FC236}">
                <a16:creationId xmlns:a16="http://schemas.microsoft.com/office/drawing/2014/main" id="{3312D6C5-FEBA-73B9-5FF3-EA2150286CA3}"/>
              </a:ext>
            </a:extLst>
          </p:cNvPr>
          <p:cNvCxnSpPr>
            <a:cxnSpLocks/>
          </p:cNvCxnSpPr>
          <p:nvPr/>
        </p:nvCxnSpPr>
        <p:spPr>
          <a:xfrm flipV="1">
            <a:off x="4286009" y="2393139"/>
            <a:ext cx="936804"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四角形: 角を丸くする 2">
            <a:extLst>
              <a:ext uri="{FF2B5EF4-FFF2-40B4-BE49-F238E27FC236}">
                <a16:creationId xmlns:a16="http://schemas.microsoft.com/office/drawing/2014/main" id="{7C9B2625-CC61-5BD1-F67E-34ADFAB96B29}"/>
              </a:ext>
            </a:extLst>
          </p:cNvPr>
          <p:cNvSpPr/>
          <p:nvPr/>
        </p:nvSpPr>
        <p:spPr>
          <a:xfrm>
            <a:off x="5222813" y="3412485"/>
            <a:ext cx="677909" cy="701584"/>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通知受領</a:t>
            </a:r>
          </a:p>
        </p:txBody>
      </p:sp>
      <p:cxnSp>
        <p:nvCxnSpPr>
          <p:cNvPr id="8" name="コネクタ: カギ線 7">
            <a:extLst>
              <a:ext uri="{FF2B5EF4-FFF2-40B4-BE49-F238E27FC236}">
                <a16:creationId xmlns:a16="http://schemas.microsoft.com/office/drawing/2014/main" id="{4BDA64DD-EDC7-5402-AE71-3EAA56CE329D}"/>
              </a:ext>
            </a:extLst>
          </p:cNvPr>
          <p:cNvCxnSpPr>
            <a:cxnSpLocks/>
            <a:stCxn id="12" idx="3"/>
            <a:endCxn id="3" idx="1"/>
          </p:cNvCxnSpPr>
          <p:nvPr/>
        </p:nvCxnSpPr>
        <p:spPr>
          <a:xfrm>
            <a:off x="4276216" y="2393139"/>
            <a:ext cx="946597" cy="137013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64" name="正方形/長方形 63">
            <a:extLst>
              <a:ext uri="{FF2B5EF4-FFF2-40B4-BE49-F238E27FC236}">
                <a16:creationId xmlns:a16="http://schemas.microsoft.com/office/drawing/2014/main" id="{16CF0769-07D3-8CB0-B56B-E6122B8D8A0C}"/>
              </a:ext>
            </a:extLst>
          </p:cNvPr>
          <p:cNvSpPr/>
          <p:nvPr/>
        </p:nvSpPr>
        <p:spPr>
          <a:xfrm>
            <a:off x="3204453" y="1934943"/>
            <a:ext cx="1449437" cy="2823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ü"/>
            </a:pPr>
            <a:endParaRPr kumimoji="1" lang="ja-JP" altLang="en-US" sz="900">
              <a:solidFill>
                <a:schemeClr val="tx1"/>
              </a:solidFill>
            </a:endParaRPr>
          </a:p>
        </p:txBody>
      </p:sp>
      <p:sp>
        <p:nvSpPr>
          <p:cNvPr id="14" name="正方形/長方形 13">
            <a:extLst>
              <a:ext uri="{FF2B5EF4-FFF2-40B4-BE49-F238E27FC236}">
                <a16:creationId xmlns:a16="http://schemas.microsoft.com/office/drawing/2014/main" id="{E8D7D17C-792A-B5C6-D86C-40A5BF79711E}"/>
              </a:ext>
            </a:extLst>
          </p:cNvPr>
          <p:cNvSpPr/>
          <p:nvPr/>
        </p:nvSpPr>
        <p:spPr>
          <a:xfrm>
            <a:off x="684037" y="4114069"/>
            <a:ext cx="2408970" cy="2479965"/>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200">
                <a:solidFill>
                  <a:schemeClr val="tx1"/>
                </a:solidFill>
              </a:rPr>
              <a:t>■共通処理</a:t>
            </a:r>
            <a:endParaRPr kumimoji="1" lang="en-US" altLang="ja-JP" sz="1200">
              <a:solidFill>
                <a:schemeClr val="tx1"/>
              </a:solidFill>
            </a:endParaRPr>
          </a:p>
          <a:p>
            <a:pPr marL="171450" indent="-171450">
              <a:buFont typeface="Arial" panose="020B0604020202020204" pitchFamily="34" charset="0"/>
              <a:buChar char="•"/>
            </a:pPr>
            <a:r>
              <a:rPr kumimoji="1" lang="ja-JP" altLang="en-US" sz="1200">
                <a:solidFill>
                  <a:schemeClr val="tx1"/>
                </a:solidFill>
              </a:rPr>
              <a:t>保存終了</a:t>
            </a:r>
          </a:p>
          <a:p>
            <a:pPr marL="171450" indent="-171450">
              <a:buFont typeface="Arial" panose="020B0604020202020204" pitchFamily="34" charset="0"/>
              <a:buChar char="•"/>
            </a:pPr>
            <a:r>
              <a:rPr kumimoji="1" lang="ja-JP" altLang="en-US" sz="1200">
                <a:solidFill>
                  <a:schemeClr val="tx1"/>
                </a:solidFill>
              </a:rPr>
              <a:t>印刷</a:t>
            </a:r>
          </a:p>
          <a:p>
            <a:pPr marL="171450" indent="-171450">
              <a:buFont typeface="Arial" panose="020B0604020202020204" pitchFamily="34" charset="0"/>
              <a:buChar char="•"/>
            </a:pPr>
            <a:r>
              <a:rPr kumimoji="1" lang="ja-JP" altLang="en-US" sz="1200">
                <a:solidFill>
                  <a:schemeClr val="tx1"/>
                </a:solidFill>
              </a:rPr>
              <a:t>メール送信</a:t>
            </a:r>
          </a:p>
          <a:p>
            <a:pPr marL="171450" indent="-171450">
              <a:buFont typeface="Arial" panose="020B0604020202020204" pitchFamily="34" charset="0"/>
              <a:buChar char="•"/>
            </a:pPr>
            <a:r>
              <a:rPr kumimoji="1" lang="ja-JP" altLang="en-US" sz="1200">
                <a:solidFill>
                  <a:schemeClr val="tx1"/>
                </a:solidFill>
              </a:rPr>
              <a:t>フロー版閲覧</a:t>
            </a:r>
          </a:p>
          <a:p>
            <a:pPr marL="171450" indent="-171450">
              <a:buFont typeface="Arial" panose="020B0604020202020204" pitchFamily="34" charset="0"/>
              <a:buChar char="•"/>
            </a:pPr>
            <a:r>
              <a:rPr kumimoji="1" lang="ja-JP" altLang="en-US" sz="1200">
                <a:solidFill>
                  <a:schemeClr val="tx1"/>
                </a:solidFill>
              </a:rPr>
              <a:t>本文閲覧</a:t>
            </a:r>
          </a:p>
          <a:p>
            <a:pPr marL="171450" indent="-171450">
              <a:buFont typeface="Arial" panose="020B0604020202020204" pitchFamily="34" charset="0"/>
              <a:buChar char="•"/>
            </a:pPr>
            <a:r>
              <a:rPr kumimoji="1" lang="ja-JP" altLang="en-US" sz="1200">
                <a:solidFill>
                  <a:schemeClr val="tx1"/>
                </a:solidFill>
              </a:rPr>
              <a:t>文書改訂</a:t>
            </a:r>
          </a:p>
          <a:p>
            <a:pPr marL="171450" indent="-171450">
              <a:buFont typeface="Arial" panose="020B0604020202020204" pitchFamily="34" charset="0"/>
              <a:buChar char="•"/>
            </a:pPr>
            <a:r>
              <a:rPr kumimoji="1" lang="ja-JP" altLang="en-US" sz="1200">
                <a:solidFill>
                  <a:schemeClr val="tx1"/>
                </a:solidFill>
              </a:rPr>
              <a:t>文書廃棄</a:t>
            </a:r>
          </a:p>
          <a:p>
            <a:pPr marL="171450" indent="-171450">
              <a:buFont typeface="Arial" panose="020B0604020202020204" pitchFamily="34" charset="0"/>
              <a:buChar char="•"/>
            </a:pPr>
            <a:r>
              <a:rPr kumimoji="1" lang="ja-JP" altLang="en-US" sz="1200">
                <a:solidFill>
                  <a:schemeClr val="tx1"/>
                </a:solidFill>
              </a:rPr>
              <a:t>顧客情報変更</a:t>
            </a:r>
          </a:p>
          <a:p>
            <a:pPr marL="171450" indent="-171450">
              <a:buFont typeface="Arial" panose="020B0604020202020204" pitchFamily="34" charset="0"/>
              <a:buChar char="•"/>
            </a:pPr>
            <a:r>
              <a:rPr kumimoji="1" lang="ja-JP" altLang="en-US" sz="1200">
                <a:solidFill>
                  <a:schemeClr val="tx1"/>
                </a:solidFill>
              </a:rPr>
              <a:t>文書削除</a:t>
            </a:r>
          </a:p>
          <a:p>
            <a:pPr marL="171450" indent="-171450">
              <a:buFont typeface="Arial" panose="020B0604020202020204" pitchFamily="34" charset="0"/>
              <a:buChar char="•"/>
            </a:pPr>
            <a:r>
              <a:rPr kumimoji="1" lang="ja-JP" altLang="en-US" sz="1200">
                <a:solidFill>
                  <a:schemeClr val="tx1"/>
                </a:solidFill>
              </a:rPr>
              <a:t>関連文書</a:t>
            </a:r>
            <a:r>
              <a:rPr kumimoji="1" lang="en-US" altLang="ja-JP" sz="1200">
                <a:solidFill>
                  <a:schemeClr val="tx1"/>
                </a:solidFill>
              </a:rPr>
              <a:t>DB</a:t>
            </a:r>
          </a:p>
          <a:p>
            <a:pPr marL="171450" indent="-171450">
              <a:buFont typeface="Arial" panose="020B0604020202020204" pitchFamily="34" charset="0"/>
              <a:buChar char="•"/>
            </a:pPr>
            <a:r>
              <a:rPr lang="ja-JP" altLang="en-US" sz="1200">
                <a:solidFill>
                  <a:schemeClr val="tx1"/>
                </a:solidFill>
              </a:rPr>
              <a:t>複数納入先分作成</a:t>
            </a:r>
            <a:endParaRPr lang="en-US" altLang="ja-JP" sz="1200">
              <a:solidFill>
                <a:schemeClr val="tx1"/>
              </a:solidFill>
            </a:endParaRPr>
          </a:p>
        </p:txBody>
      </p:sp>
      <p:sp>
        <p:nvSpPr>
          <p:cNvPr id="9" name="テキスト ボックス 8">
            <a:extLst>
              <a:ext uri="{FF2B5EF4-FFF2-40B4-BE49-F238E27FC236}">
                <a16:creationId xmlns:a16="http://schemas.microsoft.com/office/drawing/2014/main" id="{EF118EBF-BA3D-8059-1FF6-8F69F9EA9192}"/>
              </a:ext>
            </a:extLst>
          </p:cNvPr>
          <p:cNvSpPr txBox="1"/>
          <p:nvPr/>
        </p:nvSpPr>
        <p:spPr>
          <a:xfrm>
            <a:off x="6041413" y="941442"/>
            <a:ext cx="622066" cy="230832"/>
          </a:xfrm>
          <a:prstGeom prst="rect">
            <a:avLst/>
          </a:prstGeom>
          <a:noFill/>
        </p:spPr>
        <p:txBody>
          <a:bodyPr wrap="square">
            <a:spAutoFit/>
          </a:bodyPr>
          <a:lstStyle/>
          <a:p>
            <a:r>
              <a:rPr kumimoji="1" lang="ja-JP" altLang="en-US" sz="900">
                <a:solidFill>
                  <a:schemeClr val="tx1"/>
                </a:solidFill>
              </a:rPr>
              <a:t>凡例：</a:t>
            </a:r>
            <a:endParaRPr kumimoji="1" lang="en-US" altLang="ja-JP" sz="900">
              <a:solidFill>
                <a:schemeClr val="tx1"/>
              </a:solidFill>
            </a:endParaRPr>
          </a:p>
        </p:txBody>
      </p:sp>
      <p:cxnSp>
        <p:nvCxnSpPr>
          <p:cNvPr id="10" name="直線コネクタ 9">
            <a:extLst>
              <a:ext uri="{FF2B5EF4-FFF2-40B4-BE49-F238E27FC236}">
                <a16:creationId xmlns:a16="http://schemas.microsoft.com/office/drawing/2014/main" id="{E283F700-042C-FD10-D026-A797D3C3FBE9}"/>
              </a:ext>
            </a:extLst>
          </p:cNvPr>
          <p:cNvCxnSpPr>
            <a:cxnSpLocks/>
          </p:cNvCxnSpPr>
          <p:nvPr/>
        </p:nvCxnSpPr>
        <p:spPr>
          <a:xfrm>
            <a:off x="6663479" y="1060541"/>
            <a:ext cx="469371" cy="0"/>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C8E52640-3D48-7D1B-860A-87767900FF82}"/>
              </a:ext>
            </a:extLst>
          </p:cNvPr>
          <p:cNvSpPr txBox="1"/>
          <p:nvPr/>
        </p:nvSpPr>
        <p:spPr>
          <a:xfrm>
            <a:off x="6067579" y="1092688"/>
            <a:ext cx="3097382" cy="338554"/>
          </a:xfrm>
          <a:prstGeom prst="rect">
            <a:avLst/>
          </a:prstGeom>
          <a:noFill/>
        </p:spPr>
        <p:txBody>
          <a:bodyPr wrap="square">
            <a:spAutoFit/>
          </a:bodyPr>
          <a:lstStyle/>
          <a:p>
            <a:r>
              <a:rPr lang="en-US" altLang="ja-JP" sz="800"/>
              <a:t>※</a:t>
            </a:r>
            <a:r>
              <a:rPr lang="ja-JP" altLang="en-US" sz="800"/>
              <a:t>本</a:t>
            </a:r>
            <a:r>
              <a:rPr lang="en-US" altLang="ja-JP" sz="800"/>
              <a:t>WF</a:t>
            </a:r>
            <a:r>
              <a:rPr lang="ja-JP" altLang="en-US" sz="800"/>
              <a:t>は機能の全体感を示すために記載しています</a:t>
            </a:r>
            <a:endParaRPr lang="en-US" altLang="ja-JP" sz="800"/>
          </a:p>
          <a:p>
            <a:r>
              <a:rPr kumimoji="1" lang="ja-JP" altLang="en-US" sz="800">
                <a:solidFill>
                  <a:schemeClr val="tx1"/>
                </a:solidFill>
              </a:rPr>
              <a:t>　分岐としての差戻は機能要件一覧に記載しています</a:t>
            </a:r>
            <a:endParaRPr kumimoji="1" lang="en-US" altLang="ja-JP" sz="800">
              <a:solidFill>
                <a:schemeClr val="tx1"/>
              </a:solidFill>
            </a:endParaRPr>
          </a:p>
        </p:txBody>
      </p:sp>
      <p:sp>
        <p:nvSpPr>
          <p:cNvPr id="16" name="正方形/長方形 15">
            <a:extLst>
              <a:ext uri="{FF2B5EF4-FFF2-40B4-BE49-F238E27FC236}">
                <a16:creationId xmlns:a16="http://schemas.microsoft.com/office/drawing/2014/main" id="{B534036B-3D6C-88C3-0F34-25C29E0DE1A2}"/>
              </a:ext>
            </a:extLst>
          </p:cNvPr>
          <p:cNvSpPr/>
          <p:nvPr/>
        </p:nvSpPr>
        <p:spPr>
          <a:xfrm>
            <a:off x="6225760" y="2088436"/>
            <a:ext cx="1029616" cy="592486"/>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prstClr val="black"/>
                </a:solidFill>
                <a:latin typeface="Yu Gothic UI"/>
                <a:ea typeface="Yu Gothic UI"/>
              </a:rPr>
              <a:t>複数納入先分</a:t>
            </a:r>
            <a:endParaRPr lang="en-US" altLang="ja-JP" sz="1100">
              <a:solidFill>
                <a:prstClr val="black"/>
              </a:solidFill>
              <a:latin typeface="Yu Gothic UI"/>
              <a:ea typeface="Yu Gothic U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作成</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17" name="直線矢印コネクタ 16">
            <a:extLst>
              <a:ext uri="{FF2B5EF4-FFF2-40B4-BE49-F238E27FC236}">
                <a16:creationId xmlns:a16="http://schemas.microsoft.com/office/drawing/2014/main" id="{B4541368-EFB9-D99C-FC0B-E67FC33AFA87}"/>
              </a:ext>
            </a:extLst>
          </p:cNvPr>
          <p:cNvCxnSpPr>
            <a:cxnSpLocks/>
          </p:cNvCxnSpPr>
          <p:nvPr/>
        </p:nvCxnSpPr>
        <p:spPr>
          <a:xfrm>
            <a:off x="7254498" y="2394647"/>
            <a:ext cx="31636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四角形: 角を丸くする 17">
            <a:extLst>
              <a:ext uri="{FF2B5EF4-FFF2-40B4-BE49-F238E27FC236}">
                <a16:creationId xmlns:a16="http://schemas.microsoft.com/office/drawing/2014/main" id="{A69C785A-8EF1-89B4-75B6-FB2D757F4D90}"/>
              </a:ext>
            </a:extLst>
          </p:cNvPr>
          <p:cNvSpPr/>
          <p:nvPr/>
        </p:nvSpPr>
        <p:spPr>
          <a:xfrm>
            <a:off x="7586250" y="2042348"/>
            <a:ext cx="697864" cy="697310"/>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完了</a:t>
            </a:r>
          </a:p>
        </p:txBody>
      </p:sp>
      <p:cxnSp>
        <p:nvCxnSpPr>
          <p:cNvPr id="20" name="直線矢印コネクタ 19">
            <a:extLst>
              <a:ext uri="{FF2B5EF4-FFF2-40B4-BE49-F238E27FC236}">
                <a16:creationId xmlns:a16="http://schemas.microsoft.com/office/drawing/2014/main" id="{5FC2E615-FC43-A16F-1020-24BED2358190}"/>
              </a:ext>
            </a:extLst>
          </p:cNvPr>
          <p:cNvCxnSpPr>
            <a:cxnSpLocks/>
          </p:cNvCxnSpPr>
          <p:nvPr/>
        </p:nvCxnSpPr>
        <p:spPr>
          <a:xfrm>
            <a:off x="5909399" y="2394647"/>
            <a:ext cx="31636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テキスト プレースホルダー 4">
            <a:extLst>
              <a:ext uri="{FF2B5EF4-FFF2-40B4-BE49-F238E27FC236}">
                <a16:creationId xmlns:a16="http://schemas.microsoft.com/office/drawing/2014/main" id="{4C1FE197-EDC0-B4BD-4D29-66343F65A73C}"/>
              </a:ext>
            </a:extLst>
          </p:cNvPr>
          <p:cNvSpPr txBox="1">
            <a:spLocks/>
          </p:cNvSpPr>
          <p:nvPr/>
        </p:nvSpPr>
        <p:spPr>
          <a:xfrm>
            <a:off x="251524" y="1052963"/>
            <a:ext cx="8640950" cy="365125"/>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lang="ja-JP" altLang="en-US" sz="1800"/>
              <a:t>業務フロー</a:t>
            </a:r>
            <a:endParaRPr kumimoji="1" lang="en-US" altLang="zh-TW" sz="1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19" name="テキスト ボックス 18">
            <a:extLst>
              <a:ext uri="{FF2B5EF4-FFF2-40B4-BE49-F238E27FC236}">
                <a16:creationId xmlns:a16="http://schemas.microsoft.com/office/drawing/2014/main" id="{0EFC0310-35E2-FC1B-2CCD-F289F4EB72B6}"/>
              </a:ext>
            </a:extLst>
          </p:cNvPr>
          <p:cNvSpPr txBox="1"/>
          <p:nvPr/>
        </p:nvSpPr>
        <p:spPr>
          <a:xfrm>
            <a:off x="7132849" y="941442"/>
            <a:ext cx="1939149" cy="230832"/>
          </a:xfrm>
          <a:prstGeom prst="rect">
            <a:avLst/>
          </a:prstGeom>
          <a:noFill/>
        </p:spPr>
        <p:txBody>
          <a:bodyPr wrap="square">
            <a:spAutoFit/>
          </a:body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900"/>
              <a:t>2.</a:t>
            </a:r>
            <a:r>
              <a:rPr kumimoji="1" lang="ja-JP" altLang="en-US" sz="900"/>
              <a:t>機能要件</a:t>
            </a:r>
            <a:r>
              <a:rPr kumimoji="1" lang="en-US" altLang="ja-JP" sz="900"/>
              <a:t>(1)</a:t>
            </a:r>
            <a:r>
              <a:rPr kumimoji="1" lang="ja-JP" altLang="en-US" sz="900"/>
              <a:t>機能要件一覧参照</a:t>
            </a:r>
            <a:endParaRPr kumimoji="1" lang="en-US" altLang="zh-TW"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Tree>
    <p:extLst>
      <p:ext uri="{BB962C8B-B14F-4D97-AF65-F5344CB8AC3E}">
        <p14:creationId xmlns:p14="http://schemas.microsoft.com/office/powerpoint/2010/main" val="26675984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A976F1A-1F23-8E7A-9FE8-516548FD8E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5" name="think-cell data - do not delete" hidden="1">
                        <a:extLst>
                          <a:ext uri="{FF2B5EF4-FFF2-40B4-BE49-F238E27FC236}">
                            <a16:creationId xmlns:a16="http://schemas.microsoft.com/office/drawing/2014/main" id="{BA976F1A-1F23-8E7A-9FE8-516548FD8E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DEF3795D-40A6-30F0-9738-4A6C978F90FB}"/>
              </a:ext>
            </a:extLst>
          </p:cNvPr>
          <p:cNvSpPr>
            <a:spLocks noGrp="1"/>
          </p:cNvSpPr>
          <p:nvPr>
            <p:ph type="sldNum" sz="quarter" idx="12"/>
          </p:nvPr>
        </p:nvSpPr>
        <p:spPr/>
        <p:txBody>
          <a:bodyPr/>
          <a:lstStyle/>
          <a:p>
            <a:fld id="{98139188-682B-46B8-8E3A-C32D863D2EEC}" type="slidenum">
              <a:rPr lang="ja-JP" altLang="en-US" smtClean="0"/>
              <a:pPr/>
              <a:t>8</a:t>
            </a:fld>
            <a:endParaRPr lang="ja-JP" altLang="en-US"/>
          </a:p>
        </p:txBody>
      </p:sp>
      <p:sp>
        <p:nvSpPr>
          <p:cNvPr id="4" name="タイトル 3">
            <a:extLst>
              <a:ext uri="{FF2B5EF4-FFF2-40B4-BE49-F238E27FC236}">
                <a16:creationId xmlns:a16="http://schemas.microsoft.com/office/drawing/2014/main" id="{BE23AE77-CEAB-36A7-A61B-D1A32051ACD2}"/>
              </a:ext>
            </a:extLst>
          </p:cNvPr>
          <p:cNvSpPr>
            <a:spLocks noGrp="1"/>
          </p:cNvSpPr>
          <p:nvPr>
            <p:ph type="title"/>
          </p:nvPr>
        </p:nvSpPr>
        <p:spPr>
          <a:xfrm>
            <a:off x="251519" y="263966"/>
            <a:ext cx="7680208" cy="523220"/>
          </a:xfrm>
        </p:spPr>
        <p:txBody>
          <a:bodyPr vert="horz"/>
          <a:lstStyle/>
          <a:p>
            <a:r>
              <a:rPr kumimoji="1" lang="ja-JP" altLang="en-US"/>
              <a:t>１．業務要件</a:t>
            </a:r>
          </a:p>
        </p:txBody>
      </p:sp>
      <p:graphicFrame>
        <p:nvGraphicFramePr>
          <p:cNvPr id="6" name="表 7">
            <a:extLst>
              <a:ext uri="{FF2B5EF4-FFF2-40B4-BE49-F238E27FC236}">
                <a16:creationId xmlns:a16="http://schemas.microsoft.com/office/drawing/2014/main" id="{CA8E2A68-9716-173E-515E-C9C3A14F91D1}"/>
              </a:ext>
            </a:extLst>
          </p:cNvPr>
          <p:cNvGraphicFramePr>
            <a:graphicFrameLocks noGrp="1"/>
          </p:cNvGraphicFramePr>
          <p:nvPr/>
        </p:nvGraphicFramePr>
        <p:xfrm>
          <a:off x="72000" y="1381065"/>
          <a:ext cx="9000000" cy="3102144"/>
        </p:xfrm>
        <a:graphic>
          <a:graphicData uri="http://schemas.openxmlformats.org/drawingml/2006/table">
            <a:tbl>
              <a:tblPr firstRow="1" bandRow="1">
                <a:tableStyleId>{5C22544A-7EE6-4342-B048-85BDC9FD1C3A}</a:tableStyleId>
              </a:tblPr>
              <a:tblGrid>
                <a:gridCol w="540000">
                  <a:extLst>
                    <a:ext uri="{9D8B030D-6E8A-4147-A177-3AD203B41FA5}">
                      <a16:colId xmlns:a16="http://schemas.microsoft.com/office/drawing/2014/main" val="301329377"/>
                    </a:ext>
                  </a:extLst>
                </a:gridCol>
                <a:gridCol w="8460000">
                  <a:extLst>
                    <a:ext uri="{9D8B030D-6E8A-4147-A177-3AD203B41FA5}">
                      <a16:colId xmlns:a16="http://schemas.microsoft.com/office/drawing/2014/main" val="1027567464"/>
                    </a:ext>
                  </a:extLst>
                </a:gridCol>
              </a:tblGrid>
              <a:tr h="343657">
                <a:tc>
                  <a:txBody>
                    <a:bodyPr/>
                    <a:lstStyle/>
                    <a:p>
                      <a:endParaRPr kumimoji="1" lang="ja-JP" altLang="en-US"/>
                    </a:p>
                  </a:txBody>
                  <a:tcPr>
                    <a:solidFill>
                      <a:schemeClr val="accent1"/>
                    </a:solidFill>
                  </a:tcPr>
                </a:tc>
                <a:tc>
                  <a:txBody>
                    <a:bodyPr/>
                    <a:lstStyle/>
                    <a:p>
                      <a:r>
                        <a:rPr kumimoji="1" lang="ja-JP" altLang="en-US"/>
                        <a:t>業務種別　　</a:t>
                      </a:r>
                      <a:r>
                        <a:rPr kumimoji="1" lang="en-US" altLang="ja-JP" sz="1800" b="1">
                          <a:solidFill>
                            <a:schemeClr val="bg1"/>
                          </a:solidFill>
                        </a:rPr>
                        <a:t>c.</a:t>
                      </a:r>
                      <a:r>
                        <a:rPr kumimoji="1" lang="ja-JP" altLang="en-US" sz="1800" b="1">
                          <a:solidFill>
                            <a:schemeClr val="bg1"/>
                          </a:solidFill>
                        </a:rPr>
                        <a:t> 製品規格書作成</a:t>
                      </a:r>
                      <a:endParaRPr kumimoji="1" lang="ja-JP" altLang="en-US"/>
                    </a:p>
                  </a:txBody>
                  <a:tcPr/>
                </a:tc>
                <a:extLst>
                  <a:ext uri="{0D108BD9-81ED-4DB2-BD59-A6C34878D82A}">
                    <a16:rowId xmlns:a16="http://schemas.microsoft.com/office/drawing/2014/main" val="2838924240"/>
                  </a:ext>
                </a:extLst>
              </a:tr>
              <a:tr h="13681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a:ln>
                            <a:noFill/>
                          </a:ln>
                          <a:solidFill>
                            <a:prstClr val="white"/>
                          </a:solidFill>
                          <a:effectLst/>
                          <a:uLnTx/>
                          <a:uFillTx/>
                          <a:latin typeface="Yu Gothic UI"/>
                          <a:ea typeface="Yu Gothic UI"/>
                          <a:cs typeface="+mn-cs"/>
                        </a:rPr>
                        <a:t>事業所</a:t>
                      </a:r>
                      <a:br>
                        <a:rPr kumimoji="1" lang="en-US" altLang="ja-JP" sz="1100" b="1" i="0" u="none" strike="noStrike" kern="1200" cap="none" spc="0" normalizeH="0" baseline="0" noProof="0">
                          <a:ln>
                            <a:noFill/>
                          </a:ln>
                          <a:solidFill>
                            <a:prstClr val="white"/>
                          </a:solidFill>
                          <a:effectLst/>
                          <a:uLnTx/>
                          <a:uFillTx/>
                          <a:latin typeface="Yu Gothic UI"/>
                          <a:ea typeface="Yu Gothic UI"/>
                          <a:cs typeface="+mn-cs"/>
                        </a:rPr>
                      </a:br>
                      <a:r>
                        <a:rPr kumimoji="1" lang="ja-JP" altLang="en-US" sz="1100" b="1" i="0" u="none" strike="noStrike" kern="1200" cap="none" spc="0" normalizeH="0" baseline="0" noProof="0">
                          <a:ln>
                            <a:noFill/>
                          </a:ln>
                          <a:solidFill>
                            <a:prstClr val="white"/>
                          </a:solidFill>
                          <a:effectLst/>
                          <a:uLnTx/>
                          <a:uFillTx/>
                          <a:latin typeface="Yu Gothic UI"/>
                          <a:ea typeface="Yu Gothic UI"/>
                          <a:cs typeface="+mn-cs"/>
                        </a:rPr>
                        <a:t>（窓口）</a:t>
                      </a:r>
                    </a:p>
                  </a:txBody>
                  <a:tcPr vert="wordArtVertRtl" anchor="ctr" anchorCtr="1">
                    <a:solidFill>
                      <a:schemeClr val="accent1"/>
                    </a:solidFill>
                  </a:tcPr>
                </a:tc>
                <a:tc>
                  <a:txBody>
                    <a:bodyPr/>
                    <a:lstStyle/>
                    <a:p>
                      <a:endParaRPr kumimoji="1" lang="ja-JP" altLang="en-US"/>
                    </a:p>
                  </a:txBody>
                  <a:tcPr/>
                </a:tc>
                <a:extLst>
                  <a:ext uri="{0D108BD9-81ED-4DB2-BD59-A6C34878D82A}">
                    <a16:rowId xmlns:a16="http://schemas.microsoft.com/office/drawing/2014/main" val="1928206092"/>
                  </a:ext>
                </a:extLst>
              </a:tr>
              <a:tr h="1368192">
                <a:tc>
                  <a:txBody>
                    <a:bodyPr/>
                    <a:lstStyle/>
                    <a:p>
                      <a:r>
                        <a:rPr kumimoji="1" lang="ja-JP" altLang="en-US" sz="1100" b="1">
                          <a:solidFill>
                            <a:schemeClr val="bg1"/>
                          </a:solidFill>
                        </a:rPr>
                        <a:t>事業所（作成部門）</a:t>
                      </a:r>
                    </a:p>
                  </a:txBody>
                  <a:tcPr vert="wordArtVertRtl" anchor="ctr" anchorCtr="1">
                    <a:solidFill>
                      <a:schemeClr val="accent1"/>
                    </a:solidFill>
                  </a:tcPr>
                </a:tc>
                <a:tc>
                  <a:txBody>
                    <a:bodyPr/>
                    <a:lstStyle/>
                    <a:p>
                      <a:endParaRPr kumimoji="1" lang="ja-JP" altLang="en-US"/>
                    </a:p>
                  </a:txBody>
                  <a:tcPr/>
                </a:tc>
                <a:extLst>
                  <a:ext uri="{0D108BD9-81ED-4DB2-BD59-A6C34878D82A}">
                    <a16:rowId xmlns:a16="http://schemas.microsoft.com/office/drawing/2014/main" val="4039432576"/>
                  </a:ext>
                </a:extLst>
              </a:tr>
            </a:tbl>
          </a:graphicData>
        </a:graphic>
      </p:graphicFrame>
      <p:sp>
        <p:nvSpPr>
          <p:cNvPr id="11" name="四角形: 角を丸くする 10">
            <a:extLst>
              <a:ext uri="{FF2B5EF4-FFF2-40B4-BE49-F238E27FC236}">
                <a16:creationId xmlns:a16="http://schemas.microsoft.com/office/drawing/2014/main" id="{371DE847-BA56-99A2-E649-8F373E199388}"/>
              </a:ext>
            </a:extLst>
          </p:cNvPr>
          <p:cNvSpPr/>
          <p:nvPr/>
        </p:nvSpPr>
        <p:spPr>
          <a:xfrm>
            <a:off x="941338" y="2460534"/>
            <a:ext cx="629983" cy="488950"/>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依頼発生</a:t>
            </a:r>
          </a:p>
        </p:txBody>
      </p:sp>
      <p:sp>
        <p:nvSpPr>
          <p:cNvPr id="12" name="正方形/長方形 11">
            <a:extLst>
              <a:ext uri="{FF2B5EF4-FFF2-40B4-BE49-F238E27FC236}">
                <a16:creationId xmlns:a16="http://schemas.microsoft.com/office/drawing/2014/main" id="{AF21F060-AC45-A167-5EEE-551D27EE6B1C}"/>
              </a:ext>
            </a:extLst>
          </p:cNvPr>
          <p:cNvSpPr/>
          <p:nvPr/>
        </p:nvSpPr>
        <p:spPr>
          <a:xfrm>
            <a:off x="2098853" y="2476082"/>
            <a:ext cx="1029616" cy="457855"/>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製品規格作成</a:t>
            </a:r>
            <a:br>
              <a:rPr kumimoji="1" lang="en-US" altLang="ja-JP" sz="1100" b="0" i="0" u="none" strike="noStrike" kern="1200" cap="none" spc="0" normalizeH="0" baseline="0" noProof="0">
                <a:ln>
                  <a:noFill/>
                </a:ln>
                <a:solidFill>
                  <a:prstClr val="black"/>
                </a:solidFill>
                <a:effectLst/>
                <a:uLnTx/>
                <a:uFillTx/>
                <a:latin typeface="Yu Gothic UI"/>
                <a:ea typeface="Yu Gothic UI"/>
                <a:cs typeface="+mn-cs"/>
              </a:rPr>
            </a:b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依頼起票</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15" name="直線矢印コネクタ 14">
            <a:extLst>
              <a:ext uri="{FF2B5EF4-FFF2-40B4-BE49-F238E27FC236}">
                <a16:creationId xmlns:a16="http://schemas.microsoft.com/office/drawing/2014/main" id="{C87BA8EC-7174-71B5-D5A5-300FD6EECE38}"/>
              </a:ext>
            </a:extLst>
          </p:cNvPr>
          <p:cNvCxnSpPr>
            <a:cxnSpLocks/>
            <a:stCxn id="11" idx="3"/>
            <a:endCxn id="12" idx="1"/>
          </p:cNvCxnSpPr>
          <p:nvPr/>
        </p:nvCxnSpPr>
        <p:spPr>
          <a:xfrm>
            <a:off x="1571321" y="2705009"/>
            <a:ext cx="527532"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直線矢印コネクタ 12">
            <a:extLst>
              <a:ext uri="{FF2B5EF4-FFF2-40B4-BE49-F238E27FC236}">
                <a16:creationId xmlns:a16="http://schemas.microsoft.com/office/drawing/2014/main" id="{90FD5A99-4A55-50A3-5454-9B0836C94147}"/>
              </a:ext>
            </a:extLst>
          </p:cNvPr>
          <p:cNvCxnSpPr>
            <a:cxnSpLocks/>
            <a:stCxn id="12" idx="2"/>
            <a:endCxn id="18" idx="0"/>
          </p:cNvCxnSpPr>
          <p:nvPr/>
        </p:nvCxnSpPr>
        <p:spPr>
          <a:xfrm>
            <a:off x="2613661" y="2933937"/>
            <a:ext cx="0" cy="8017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ひし形 17">
            <a:extLst>
              <a:ext uri="{FF2B5EF4-FFF2-40B4-BE49-F238E27FC236}">
                <a16:creationId xmlns:a16="http://schemas.microsoft.com/office/drawing/2014/main" id="{B59F8DCC-9E26-9231-243D-87FB5DC0A76E}"/>
              </a:ext>
            </a:extLst>
          </p:cNvPr>
          <p:cNvSpPr/>
          <p:nvPr/>
        </p:nvSpPr>
        <p:spPr>
          <a:xfrm>
            <a:off x="2173333" y="3735714"/>
            <a:ext cx="880656" cy="488950"/>
          </a:xfrm>
          <a:prstGeom prst="diamond">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100">
                <a:solidFill>
                  <a:prstClr val="black"/>
                </a:solidFill>
                <a:latin typeface="Yu Gothic UI"/>
                <a:ea typeface="Yu Gothic UI"/>
              </a:rPr>
              <a:t>確認・承認</a:t>
            </a:r>
          </a:p>
        </p:txBody>
      </p:sp>
      <p:cxnSp>
        <p:nvCxnSpPr>
          <p:cNvPr id="3" name="直線矢印コネクタ 2">
            <a:extLst>
              <a:ext uri="{FF2B5EF4-FFF2-40B4-BE49-F238E27FC236}">
                <a16:creationId xmlns:a16="http://schemas.microsoft.com/office/drawing/2014/main" id="{DA2742F8-E8F1-35AD-5317-2E2028F7E099}"/>
              </a:ext>
            </a:extLst>
          </p:cNvPr>
          <p:cNvCxnSpPr>
            <a:cxnSpLocks/>
            <a:stCxn id="18" idx="3"/>
            <a:endCxn id="80" idx="1"/>
          </p:cNvCxnSpPr>
          <p:nvPr/>
        </p:nvCxnSpPr>
        <p:spPr>
          <a:xfrm flipV="1">
            <a:off x="3053989" y="3979719"/>
            <a:ext cx="987718" cy="4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5" name="テキスト ボックス 54">
            <a:extLst>
              <a:ext uri="{FF2B5EF4-FFF2-40B4-BE49-F238E27FC236}">
                <a16:creationId xmlns:a16="http://schemas.microsoft.com/office/drawing/2014/main" id="{4EF2D752-836A-E232-AE3C-C4F55DD3E9A8}"/>
              </a:ext>
            </a:extLst>
          </p:cNvPr>
          <p:cNvSpPr txBox="1"/>
          <p:nvPr/>
        </p:nvSpPr>
        <p:spPr>
          <a:xfrm>
            <a:off x="3107993" y="2287976"/>
            <a:ext cx="2381712" cy="784830"/>
          </a:xfrm>
          <a:prstGeom prst="rect">
            <a:avLst/>
          </a:prstGeom>
          <a:noFill/>
        </p:spPr>
        <p:txBody>
          <a:bodyPr wrap="square">
            <a:spAutoFit/>
          </a:bodyPr>
          <a:lstStyle/>
          <a:p>
            <a:pPr marL="285750" indent="-285750">
              <a:buFont typeface="Wingdings" panose="05000000000000000000" pitchFamily="2" charset="2"/>
              <a:buChar char="ü"/>
            </a:pPr>
            <a:r>
              <a:rPr kumimoji="1" lang="ja-JP" altLang="en-US" sz="900">
                <a:solidFill>
                  <a:schemeClr val="tx1"/>
                </a:solidFill>
              </a:rPr>
              <a:t>初期登録画面の入力</a:t>
            </a:r>
            <a:endParaRPr kumimoji="1" lang="en-US" altLang="ja-JP" sz="900">
              <a:solidFill>
                <a:schemeClr val="tx1"/>
              </a:solidFill>
            </a:endParaRPr>
          </a:p>
          <a:p>
            <a:pPr marL="285750" indent="-285750">
              <a:buFont typeface="Wingdings" panose="05000000000000000000" pitchFamily="2" charset="2"/>
              <a:buChar char="ü"/>
            </a:pPr>
            <a:r>
              <a:rPr kumimoji="1" lang="ja-JP" altLang="en-US" sz="900">
                <a:solidFill>
                  <a:schemeClr val="tx1"/>
                </a:solidFill>
              </a:rPr>
              <a:t>製品規格書の情報入力</a:t>
            </a:r>
            <a:endParaRPr kumimoji="1" lang="en-US" altLang="ja-JP" sz="900">
              <a:solidFill>
                <a:schemeClr val="tx1"/>
              </a:solidFill>
            </a:endParaRPr>
          </a:p>
          <a:p>
            <a:pPr marL="285750" indent="-285750">
              <a:buFont typeface="Wingdings" panose="05000000000000000000" pitchFamily="2" charset="2"/>
              <a:buChar char="ü"/>
            </a:pPr>
            <a:r>
              <a:rPr lang="ja-JP" altLang="en-US" sz="900"/>
              <a:t>ワークフロー設定</a:t>
            </a:r>
            <a:endParaRPr lang="en-US" altLang="ja-JP" sz="900"/>
          </a:p>
          <a:p>
            <a:pPr marL="285750" indent="-285750">
              <a:buFont typeface="Wingdings" panose="05000000000000000000" pitchFamily="2" charset="2"/>
              <a:buChar char="ü"/>
            </a:pPr>
            <a:r>
              <a:rPr kumimoji="1" lang="ja-JP" altLang="en-US" sz="900">
                <a:solidFill>
                  <a:schemeClr val="tx1"/>
                </a:solidFill>
              </a:rPr>
              <a:t>次工程へ連絡</a:t>
            </a:r>
            <a:endParaRPr kumimoji="1" lang="en-US" altLang="ja-JP" sz="900">
              <a:solidFill>
                <a:schemeClr val="tx1"/>
              </a:solidFill>
            </a:endParaRPr>
          </a:p>
          <a:p>
            <a:pPr marL="285750" indent="-285750">
              <a:buFont typeface="Wingdings" panose="05000000000000000000" pitchFamily="2" charset="2"/>
              <a:buChar char="ü"/>
            </a:pPr>
            <a:endParaRPr kumimoji="1" lang="en-US" altLang="ja-JP" sz="900">
              <a:solidFill>
                <a:schemeClr val="tx1"/>
              </a:solidFill>
            </a:endParaRPr>
          </a:p>
        </p:txBody>
      </p:sp>
      <p:sp>
        <p:nvSpPr>
          <p:cNvPr id="16" name="正方形/長方形 15">
            <a:extLst>
              <a:ext uri="{FF2B5EF4-FFF2-40B4-BE49-F238E27FC236}">
                <a16:creationId xmlns:a16="http://schemas.microsoft.com/office/drawing/2014/main" id="{99EC6E50-1FDF-9B8E-BAEE-B8D89F22F89C}"/>
              </a:ext>
            </a:extLst>
          </p:cNvPr>
          <p:cNvSpPr/>
          <p:nvPr/>
        </p:nvSpPr>
        <p:spPr>
          <a:xfrm>
            <a:off x="561255" y="3546041"/>
            <a:ext cx="1602895" cy="101418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900">
                <a:solidFill>
                  <a:schemeClr val="tx1"/>
                </a:solidFill>
              </a:rPr>
              <a:t>連絡事項の記載</a:t>
            </a:r>
            <a:endParaRPr lang="en-US" altLang="ja-JP" sz="900">
              <a:solidFill>
                <a:schemeClr val="tx1"/>
              </a:solidFill>
            </a:endParaRPr>
          </a:p>
          <a:p>
            <a:pPr marL="285750" indent="-285750">
              <a:buFont typeface="Wingdings" panose="05000000000000000000" pitchFamily="2" charset="2"/>
              <a:buChar char="ü"/>
            </a:pPr>
            <a:r>
              <a:rPr lang="ja-JP" altLang="en-US" sz="900">
                <a:solidFill>
                  <a:schemeClr val="tx1"/>
                </a:solidFill>
              </a:rPr>
              <a:t>ルート設定</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900">
                <a:solidFill>
                  <a:schemeClr val="tx1"/>
                </a:solidFill>
              </a:rPr>
              <a:t>次工程へ通知</a:t>
            </a:r>
            <a:endParaRPr lang="en-US" altLang="ja-JP" sz="900">
              <a:solidFill>
                <a:schemeClr val="tx1"/>
              </a:solidFill>
            </a:endParaRPr>
          </a:p>
        </p:txBody>
      </p:sp>
      <p:sp>
        <p:nvSpPr>
          <p:cNvPr id="80" name="ひし形 79">
            <a:extLst>
              <a:ext uri="{FF2B5EF4-FFF2-40B4-BE49-F238E27FC236}">
                <a16:creationId xmlns:a16="http://schemas.microsoft.com/office/drawing/2014/main" id="{451C5914-CD2F-8A4E-297D-DD85F7986712}"/>
              </a:ext>
            </a:extLst>
          </p:cNvPr>
          <p:cNvSpPr/>
          <p:nvPr/>
        </p:nvSpPr>
        <p:spPr>
          <a:xfrm>
            <a:off x="4041707" y="3735244"/>
            <a:ext cx="880656" cy="488950"/>
          </a:xfrm>
          <a:prstGeom prst="diamond">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審査</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sp>
        <p:nvSpPr>
          <p:cNvPr id="24" name="正方形/長方形 23">
            <a:extLst>
              <a:ext uri="{FF2B5EF4-FFF2-40B4-BE49-F238E27FC236}">
                <a16:creationId xmlns:a16="http://schemas.microsoft.com/office/drawing/2014/main" id="{AA879E95-4195-1A8F-94EF-B2DC35C2B8AB}"/>
              </a:ext>
            </a:extLst>
          </p:cNvPr>
          <p:cNvSpPr/>
          <p:nvPr/>
        </p:nvSpPr>
        <p:spPr>
          <a:xfrm>
            <a:off x="5469228" y="2476082"/>
            <a:ext cx="1029616" cy="457855"/>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prstClr val="black"/>
                </a:solidFill>
                <a:latin typeface="Yu Gothic UI"/>
                <a:ea typeface="Yu Gothic UI"/>
              </a:rPr>
              <a:t>登録処理</a:t>
            </a:r>
            <a:endParaRPr lang="en-US" altLang="ja-JP" sz="1100">
              <a:solidFill>
                <a:prstClr val="black"/>
              </a:solidFill>
              <a:latin typeface="Yu Gothic UI"/>
              <a:ea typeface="Yu Gothic UI"/>
            </a:endParaRPr>
          </a:p>
        </p:txBody>
      </p:sp>
      <p:cxnSp>
        <p:nvCxnSpPr>
          <p:cNvPr id="27" name="コネクタ: カギ線 26">
            <a:extLst>
              <a:ext uri="{FF2B5EF4-FFF2-40B4-BE49-F238E27FC236}">
                <a16:creationId xmlns:a16="http://schemas.microsoft.com/office/drawing/2014/main" id="{3E8296AA-1D15-4524-D37C-BC8929D18976}"/>
              </a:ext>
            </a:extLst>
          </p:cNvPr>
          <p:cNvCxnSpPr>
            <a:cxnSpLocks/>
            <a:stCxn id="80" idx="3"/>
            <a:endCxn id="24" idx="1"/>
          </p:cNvCxnSpPr>
          <p:nvPr/>
        </p:nvCxnSpPr>
        <p:spPr>
          <a:xfrm flipV="1">
            <a:off x="4922363" y="2705010"/>
            <a:ext cx="546865" cy="127470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四角形: 角を丸くする 32">
            <a:extLst>
              <a:ext uri="{FF2B5EF4-FFF2-40B4-BE49-F238E27FC236}">
                <a16:creationId xmlns:a16="http://schemas.microsoft.com/office/drawing/2014/main" id="{8B5E4D0C-CF30-3CF3-6DEC-B6B419530B84}"/>
              </a:ext>
            </a:extLst>
          </p:cNvPr>
          <p:cNvSpPr/>
          <p:nvPr/>
        </p:nvSpPr>
        <p:spPr>
          <a:xfrm>
            <a:off x="7313476" y="2460534"/>
            <a:ext cx="629983" cy="488950"/>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完了</a:t>
            </a:r>
          </a:p>
        </p:txBody>
      </p:sp>
      <p:cxnSp>
        <p:nvCxnSpPr>
          <p:cNvPr id="36" name="直線矢印コネクタ 35">
            <a:extLst>
              <a:ext uri="{FF2B5EF4-FFF2-40B4-BE49-F238E27FC236}">
                <a16:creationId xmlns:a16="http://schemas.microsoft.com/office/drawing/2014/main" id="{99E322F5-092B-B639-1D4D-D2A2127078F7}"/>
              </a:ext>
            </a:extLst>
          </p:cNvPr>
          <p:cNvCxnSpPr>
            <a:cxnSpLocks/>
            <a:stCxn id="24" idx="3"/>
            <a:endCxn id="33" idx="1"/>
          </p:cNvCxnSpPr>
          <p:nvPr/>
        </p:nvCxnSpPr>
        <p:spPr>
          <a:xfrm flipV="1">
            <a:off x="6498844" y="2705009"/>
            <a:ext cx="814632"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テキスト ボックス 38">
            <a:extLst>
              <a:ext uri="{FF2B5EF4-FFF2-40B4-BE49-F238E27FC236}">
                <a16:creationId xmlns:a16="http://schemas.microsoft.com/office/drawing/2014/main" id="{44D027FF-4FA2-8DC2-ADA6-01A163319C44}"/>
              </a:ext>
            </a:extLst>
          </p:cNvPr>
          <p:cNvSpPr txBox="1"/>
          <p:nvPr/>
        </p:nvSpPr>
        <p:spPr>
          <a:xfrm>
            <a:off x="5469228" y="2115127"/>
            <a:ext cx="2381712" cy="369332"/>
          </a:xfrm>
          <a:prstGeom prst="rect">
            <a:avLst/>
          </a:prstGeom>
          <a:noFill/>
        </p:spPr>
        <p:txBody>
          <a:bodyPr wrap="square">
            <a:spAutoFit/>
          </a:bodyPr>
          <a:lstStyle/>
          <a:p>
            <a:pPr marL="285750" indent="-285750">
              <a:buFont typeface="Wingdings" panose="05000000000000000000" pitchFamily="2" charset="2"/>
              <a:buChar char="ü"/>
            </a:pPr>
            <a:r>
              <a:rPr kumimoji="1" lang="ja-JP" altLang="en-US" sz="900">
                <a:solidFill>
                  <a:schemeClr val="tx1"/>
                </a:solidFill>
              </a:rPr>
              <a:t>配布先追加削除</a:t>
            </a:r>
            <a:endParaRPr kumimoji="1" lang="en-US" altLang="ja-JP" sz="900">
              <a:solidFill>
                <a:schemeClr val="tx1"/>
              </a:solidFill>
            </a:endParaRPr>
          </a:p>
          <a:p>
            <a:pPr marL="285750" indent="-285750">
              <a:buFont typeface="Wingdings" panose="05000000000000000000" pitchFamily="2" charset="2"/>
              <a:buChar char="ü"/>
            </a:pPr>
            <a:r>
              <a:rPr kumimoji="1" lang="ja-JP" altLang="en-US" sz="900">
                <a:solidFill>
                  <a:schemeClr val="tx1"/>
                </a:solidFill>
              </a:rPr>
              <a:t>配布先履歴管理</a:t>
            </a:r>
            <a:endParaRPr kumimoji="1" lang="en-US" altLang="ja-JP" sz="900">
              <a:solidFill>
                <a:schemeClr val="tx1"/>
              </a:solidFill>
            </a:endParaRPr>
          </a:p>
        </p:txBody>
      </p:sp>
      <p:sp>
        <p:nvSpPr>
          <p:cNvPr id="45" name="テキスト ボックス 44">
            <a:extLst>
              <a:ext uri="{FF2B5EF4-FFF2-40B4-BE49-F238E27FC236}">
                <a16:creationId xmlns:a16="http://schemas.microsoft.com/office/drawing/2014/main" id="{CB7215E0-2584-4509-8471-DE5DD7F08C35}"/>
              </a:ext>
            </a:extLst>
          </p:cNvPr>
          <p:cNvSpPr txBox="1"/>
          <p:nvPr/>
        </p:nvSpPr>
        <p:spPr>
          <a:xfrm>
            <a:off x="6041413" y="941442"/>
            <a:ext cx="622066" cy="230832"/>
          </a:xfrm>
          <a:prstGeom prst="rect">
            <a:avLst/>
          </a:prstGeom>
          <a:noFill/>
        </p:spPr>
        <p:txBody>
          <a:bodyPr wrap="square">
            <a:spAutoFit/>
          </a:bodyPr>
          <a:lstStyle/>
          <a:p>
            <a:r>
              <a:rPr kumimoji="1" lang="ja-JP" altLang="en-US" sz="900">
                <a:solidFill>
                  <a:schemeClr val="tx1"/>
                </a:solidFill>
              </a:rPr>
              <a:t>凡例：</a:t>
            </a:r>
            <a:endParaRPr kumimoji="1" lang="en-US" altLang="ja-JP" sz="900">
              <a:solidFill>
                <a:schemeClr val="tx1"/>
              </a:solidFill>
            </a:endParaRPr>
          </a:p>
        </p:txBody>
      </p:sp>
      <p:cxnSp>
        <p:nvCxnSpPr>
          <p:cNvPr id="49" name="直線コネクタ 48">
            <a:extLst>
              <a:ext uri="{FF2B5EF4-FFF2-40B4-BE49-F238E27FC236}">
                <a16:creationId xmlns:a16="http://schemas.microsoft.com/office/drawing/2014/main" id="{3B1009AE-7DFA-2DF7-205B-C73907CF22F6}"/>
              </a:ext>
            </a:extLst>
          </p:cNvPr>
          <p:cNvCxnSpPr>
            <a:cxnSpLocks/>
          </p:cNvCxnSpPr>
          <p:nvPr/>
        </p:nvCxnSpPr>
        <p:spPr>
          <a:xfrm>
            <a:off x="6663479" y="1060541"/>
            <a:ext cx="469371" cy="0"/>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7" name="正方形/長方形 6">
            <a:extLst>
              <a:ext uri="{FF2B5EF4-FFF2-40B4-BE49-F238E27FC236}">
                <a16:creationId xmlns:a16="http://schemas.microsoft.com/office/drawing/2014/main" id="{B3228611-43C5-0AEB-B064-A738C777E8F4}"/>
              </a:ext>
            </a:extLst>
          </p:cNvPr>
          <p:cNvSpPr/>
          <p:nvPr/>
        </p:nvSpPr>
        <p:spPr>
          <a:xfrm>
            <a:off x="941338" y="4366986"/>
            <a:ext cx="2685782" cy="218261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200">
                <a:solidFill>
                  <a:schemeClr val="tx1"/>
                </a:solidFill>
              </a:rPr>
              <a:t>■共通処理</a:t>
            </a:r>
            <a:endParaRPr kumimoji="1" lang="en-US" altLang="ja-JP" sz="1200">
              <a:solidFill>
                <a:schemeClr val="tx1"/>
              </a:solidFill>
            </a:endParaRPr>
          </a:p>
          <a:p>
            <a:pPr marL="171450" indent="-171450">
              <a:buFont typeface="Arial" panose="020B0604020202020204" pitchFamily="34" charset="0"/>
              <a:buChar char="•"/>
            </a:pPr>
            <a:r>
              <a:rPr kumimoji="1" lang="ja-JP" altLang="en-US" sz="1200">
                <a:solidFill>
                  <a:schemeClr val="tx1"/>
                </a:solidFill>
              </a:rPr>
              <a:t>編集</a:t>
            </a:r>
          </a:p>
          <a:p>
            <a:pPr marL="171450" indent="-171450">
              <a:buFont typeface="Arial" panose="020B0604020202020204" pitchFamily="34" charset="0"/>
              <a:buChar char="•"/>
            </a:pPr>
            <a:r>
              <a:rPr kumimoji="1" lang="ja-JP" altLang="en-US" sz="1200">
                <a:solidFill>
                  <a:schemeClr val="tx1"/>
                </a:solidFill>
              </a:rPr>
              <a:t>保存終了</a:t>
            </a:r>
          </a:p>
          <a:p>
            <a:pPr marL="171450" indent="-171450">
              <a:buFont typeface="Arial" panose="020B0604020202020204" pitchFamily="34" charset="0"/>
              <a:buChar char="•"/>
            </a:pPr>
            <a:r>
              <a:rPr kumimoji="1" lang="ja-JP" altLang="en-US" sz="1200">
                <a:solidFill>
                  <a:schemeClr val="tx1"/>
                </a:solidFill>
              </a:rPr>
              <a:t>印刷</a:t>
            </a:r>
          </a:p>
          <a:p>
            <a:pPr marL="171450" indent="-171450">
              <a:buFont typeface="Arial" panose="020B0604020202020204" pitchFamily="34" charset="0"/>
              <a:buChar char="•"/>
            </a:pPr>
            <a:r>
              <a:rPr kumimoji="1" lang="ja-JP" altLang="en-US" sz="1200">
                <a:solidFill>
                  <a:schemeClr val="tx1"/>
                </a:solidFill>
              </a:rPr>
              <a:t>メール送信</a:t>
            </a:r>
          </a:p>
          <a:p>
            <a:pPr marL="171450" indent="-171450">
              <a:buFont typeface="Arial" panose="020B0604020202020204" pitchFamily="34" charset="0"/>
              <a:buChar char="•"/>
            </a:pPr>
            <a:r>
              <a:rPr kumimoji="1" lang="ja-JP" altLang="en-US" sz="1200">
                <a:solidFill>
                  <a:schemeClr val="tx1"/>
                </a:solidFill>
              </a:rPr>
              <a:t>旧版閲覧</a:t>
            </a:r>
          </a:p>
          <a:p>
            <a:pPr marL="171450" indent="-171450">
              <a:buFont typeface="Arial" panose="020B0604020202020204" pitchFamily="34" charset="0"/>
              <a:buChar char="•"/>
            </a:pPr>
            <a:r>
              <a:rPr kumimoji="1" lang="ja-JP" altLang="en-US" sz="1200">
                <a:solidFill>
                  <a:schemeClr val="tx1"/>
                </a:solidFill>
              </a:rPr>
              <a:t>文書改訂</a:t>
            </a:r>
          </a:p>
          <a:p>
            <a:pPr marL="171450" indent="-171450">
              <a:buFont typeface="Arial" panose="020B0604020202020204" pitchFamily="34" charset="0"/>
              <a:buChar char="•"/>
            </a:pPr>
            <a:r>
              <a:rPr kumimoji="1" lang="ja-JP" altLang="en-US" sz="1200">
                <a:solidFill>
                  <a:schemeClr val="tx1"/>
                </a:solidFill>
              </a:rPr>
              <a:t>文書廃棄</a:t>
            </a:r>
            <a:r>
              <a:rPr kumimoji="1" lang="en-US" altLang="ja-JP" sz="1200">
                <a:solidFill>
                  <a:schemeClr val="tx1"/>
                </a:solidFill>
              </a:rPr>
              <a:t>\</a:t>
            </a:r>
            <a:r>
              <a:rPr kumimoji="1" lang="ja-JP" altLang="en-US" sz="1200">
                <a:solidFill>
                  <a:schemeClr val="tx1"/>
                </a:solidFill>
              </a:rPr>
              <a:t>廃棄承認ワークフロー実施</a:t>
            </a:r>
          </a:p>
          <a:p>
            <a:pPr marL="171450" indent="-171450">
              <a:buFont typeface="Arial" panose="020B0604020202020204" pitchFamily="34" charset="0"/>
              <a:buChar char="•"/>
            </a:pPr>
            <a:r>
              <a:rPr kumimoji="1" lang="ja-JP" altLang="en-US" sz="1200">
                <a:solidFill>
                  <a:schemeClr val="tx1"/>
                </a:solidFill>
              </a:rPr>
              <a:t>文書廃棄</a:t>
            </a:r>
            <a:r>
              <a:rPr kumimoji="1" lang="en-US" altLang="ja-JP" sz="1200">
                <a:solidFill>
                  <a:schemeClr val="tx1"/>
                </a:solidFill>
              </a:rPr>
              <a:t>\</a:t>
            </a:r>
            <a:r>
              <a:rPr kumimoji="1" lang="ja-JP" altLang="en-US" sz="1200">
                <a:solidFill>
                  <a:schemeClr val="tx1"/>
                </a:solidFill>
              </a:rPr>
              <a:t>即廃棄</a:t>
            </a:r>
          </a:p>
          <a:p>
            <a:pPr marL="171450" indent="-171450">
              <a:buFont typeface="Arial" panose="020B0604020202020204" pitchFamily="34" charset="0"/>
              <a:buChar char="•"/>
            </a:pPr>
            <a:r>
              <a:rPr kumimoji="1" lang="ja-JP" altLang="en-US" sz="1200">
                <a:solidFill>
                  <a:schemeClr val="tx1"/>
                </a:solidFill>
              </a:rPr>
              <a:t>廃棄取消</a:t>
            </a:r>
          </a:p>
          <a:p>
            <a:pPr marL="171450" indent="-171450">
              <a:buFont typeface="Arial" panose="020B0604020202020204" pitchFamily="34" charset="0"/>
              <a:buChar char="•"/>
            </a:pPr>
            <a:r>
              <a:rPr kumimoji="1" lang="ja-JP" altLang="en-US" sz="1200">
                <a:solidFill>
                  <a:schemeClr val="tx1"/>
                </a:solidFill>
              </a:rPr>
              <a:t>文書削除</a:t>
            </a:r>
            <a:endParaRPr kumimoji="1" lang="en-US" altLang="ja-JP" sz="1200">
              <a:solidFill>
                <a:schemeClr val="tx1"/>
              </a:solidFill>
            </a:endParaRPr>
          </a:p>
          <a:p>
            <a:pPr marL="171450" indent="-171450">
              <a:buFont typeface="Arial" panose="020B0604020202020204" pitchFamily="34" charset="0"/>
              <a:buChar char="•"/>
            </a:pPr>
            <a:r>
              <a:rPr kumimoji="1" lang="ja-JP" altLang="en-US" sz="1200">
                <a:solidFill>
                  <a:schemeClr val="tx1"/>
                </a:solidFill>
              </a:rPr>
              <a:t>ワークフロー一括更新</a:t>
            </a:r>
          </a:p>
        </p:txBody>
      </p:sp>
      <p:sp>
        <p:nvSpPr>
          <p:cNvPr id="8" name="テキスト ボックス 7">
            <a:extLst>
              <a:ext uri="{FF2B5EF4-FFF2-40B4-BE49-F238E27FC236}">
                <a16:creationId xmlns:a16="http://schemas.microsoft.com/office/drawing/2014/main" id="{9606581A-5A19-0416-BA42-16F13437D9B7}"/>
              </a:ext>
            </a:extLst>
          </p:cNvPr>
          <p:cNvSpPr txBox="1"/>
          <p:nvPr/>
        </p:nvSpPr>
        <p:spPr>
          <a:xfrm>
            <a:off x="6112932" y="1381063"/>
            <a:ext cx="3097382" cy="338554"/>
          </a:xfrm>
          <a:prstGeom prst="rect">
            <a:avLst/>
          </a:prstGeom>
          <a:noFill/>
        </p:spPr>
        <p:txBody>
          <a:bodyPr wrap="square">
            <a:spAutoFit/>
          </a:bodyPr>
          <a:lstStyle/>
          <a:p>
            <a:r>
              <a:rPr lang="en-US" altLang="ja-JP" sz="800"/>
              <a:t>※</a:t>
            </a:r>
            <a:r>
              <a:rPr lang="ja-JP" altLang="en-US" sz="800"/>
              <a:t>本</a:t>
            </a:r>
            <a:r>
              <a:rPr lang="en-US" altLang="ja-JP" sz="800"/>
              <a:t>WF</a:t>
            </a:r>
            <a:r>
              <a:rPr lang="ja-JP" altLang="en-US" sz="800"/>
              <a:t>は機能の全体感を示すために記載しています</a:t>
            </a:r>
            <a:endParaRPr lang="en-US" altLang="ja-JP" sz="800"/>
          </a:p>
          <a:p>
            <a:r>
              <a:rPr kumimoji="1" lang="ja-JP" altLang="en-US" sz="800">
                <a:solidFill>
                  <a:schemeClr val="tx1"/>
                </a:solidFill>
              </a:rPr>
              <a:t>　分岐としての差戻は機能一覧に記載しています</a:t>
            </a:r>
            <a:endParaRPr kumimoji="1" lang="en-US" altLang="ja-JP" sz="800">
              <a:solidFill>
                <a:schemeClr val="tx1"/>
              </a:solidFill>
            </a:endParaRPr>
          </a:p>
        </p:txBody>
      </p:sp>
      <p:sp>
        <p:nvSpPr>
          <p:cNvPr id="10" name="テキスト プレースホルダー 4">
            <a:extLst>
              <a:ext uri="{FF2B5EF4-FFF2-40B4-BE49-F238E27FC236}">
                <a16:creationId xmlns:a16="http://schemas.microsoft.com/office/drawing/2014/main" id="{E2FCF4C2-C9E5-4EFF-6E0B-4376BA05F9DA}"/>
              </a:ext>
            </a:extLst>
          </p:cNvPr>
          <p:cNvSpPr txBox="1">
            <a:spLocks/>
          </p:cNvSpPr>
          <p:nvPr/>
        </p:nvSpPr>
        <p:spPr>
          <a:xfrm>
            <a:off x="251524" y="1052963"/>
            <a:ext cx="8640950" cy="365125"/>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lang="ja-JP" altLang="en-US" sz="1800"/>
              <a:t>業務フロー</a:t>
            </a:r>
            <a:endParaRPr kumimoji="1" lang="en-US" altLang="zh-TW" sz="1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9" name="テキスト ボックス 8">
            <a:extLst>
              <a:ext uri="{FF2B5EF4-FFF2-40B4-BE49-F238E27FC236}">
                <a16:creationId xmlns:a16="http://schemas.microsoft.com/office/drawing/2014/main" id="{E886AB72-2D96-18D0-8E91-35538F55D3FF}"/>
              </a:ext>
            </a:extLst>
          </p:cNvPr>
          <p:cNvSpPr txBox="1"/>
          <p:nvPr/>
        </p:nvSpPr>
        <p:spPr>
          <a:xfrm>
            <a:off x="7132849" y="941442"/>
            <a:ext cx="1939149" cy="230832"/>
          </a:xfrm>
          <a:prstGeom prst="rect">
            <a:avLst/>
          </a:prstGeom>
          <a:noFill/>
        </p:spPr>
        <p:txBody>
          <a:bodyPr wrap="square">
            <a:spAutoFit/>
          </a:body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900"/>
              <a:t>2.</a:t>
            </a:r>
            <a:r>
              <a:rPr kumimoji="1" lang="ja-JP" altLang="en-US" sz="900"/>
              <a:t>機能要件</a:t>
            </a:r>
            <a:r>
              <a:rPr kumimoji="1" lang="en-US" altLang="ja-JP" sz="900"/>
              <a:t>(1)</a:t>
            </a:r>
            <a:r>
              <a:rPr kumimoji="1" lang="ja-JP" altLang="en-US" sz="900"/>
              <a:t>機能要件一覧参照</a:t>
            </a:r>
            <a:endParaRPr kumimoji="1" lang="en-US" altLang="zh-TW"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Tree>
    <p:extLst>
      <p:ext uri="{BB962C8B-B14F-4D97-AF65-F5344CB8AC3E}">
        <p14:creationId xmlns:p14="http://schemas.microsoft.com/office/powerpoint/2010/main" val="28361403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A976F1A-1F23-8E7A-9FE8-516548FD8E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639" imgH="639" progId="TCLayout.ActiveDocument.1">
                  <p:embed/>
                </p:oleObj>
              </mc:Choice>
              <mc:Fallback>
                <p:oleObj name="think-cellスライド" r:id="rId3" imgW="639" imgH="639" progId="TCLayout.ActiveDocument.1">
                  <p:embed/>
                  <p:pic>
                    <p:nvPicPr>
                      <p:cNvPr id="5" name="think-cell data - do not delete" hidden="1">
                        <a:extLst>
                          <a:ext uri="{FF2B5EF4-FFF2-40B4-BE49-F238E27FC236}">
                            <a16:creationId xmlns:a16="http://schemas.microsoft.com/office/drawing/2014/main" id="{BA976F1A-1F23-8E7A-9FE8-516548FD8E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BE23AE77-CEAB-36A7-A61B-D1A32051ACD2}"/>
              </a:ext>
            </a:extLst>
          </p:cNvPr>
          <p:cNvSpPr>
            <a:spLocks noGrp="1"/>
          </p:cNvSpPr>
          <p:nvPr>
            <p:ph type="title"/>
          </p:nvPr>
        </p:nvSpPr>
        <p:spPr>
          <a:xfrm>
            <a:off x="251519" y="263966"/>
            <a:ext cx="7680208" cy="523220"/>
          </a:xfrm>
        </p:spPr>
        <p:txBody>
          <a:bodyPr vert="horz"/>
          <a:lstStyle/>
          <a:p>
            <a:r>
              <a:rPr kumimoji="1" lang="ja-JP" altLang="en-US"/>
              <a:t>１．業務要件</a:t>
            </a:r>
          </a:p>
        </p:txBody>
      </p:sp>
      <p:graphicFrame>
        <p:nvGraphicFramePr>
          <p:cNvPr id="6" name="表 7">
            <a:extLst>
              <a:ext uri="{FF2B5EF4-FFF2-40B4-BE49-F238E27FC236}">
                <a16:creationId xmlns:a16="http://schemas.microsoft.com/office/drawing/2014/main" id="{CA8E2A68-9716-173E-515E-C9C3A14F91D1}"/>
              </a:ext>
            </a:extLst>
          </p:cNvPr>
          <p:cNvGraphicFramePr>
            <a:graphicFrameLocks noGrp="1"/>
          </p:cNvGraphicFramePr>
          <p:nvPr/>
        </p:nvGraphicFramePr>
        <p:xfrm>
          <a:off x="72000" y="1381063"/>
          <a:ext cx="9000000" cy="2354166"/>
        </p:xfrm>
        <a:graphic>
          <a:graphicData uri="http://schemas.openxmlformats.org/drawingml/2006/table">
            <a:tbl>
              <a:tblPr firstRow="1" bandRow="1">
                <a:tableStyleId>{5C22544A-7EE6-4342-B048-85BDC9FD1C3A}</a:tableStyleId>
              </a:tblPr>
              <a:tblGrid>
                <a:gridCol w="540000">
                  <a:extLst>
                    <a:ext uri="{9D8B030D-6E8A-4147-A177-3AD203B41FA5}">
                      <a16:colId xmlns:a16="http://schemas.microsoft.com/office/drawing/2014/main" val="301329377"/>
                    </a:ext>
                  </a:extLst>
                </a:gridCol>
                <a:gridCol w="8460000">
                  <a:extLst>
                    <a:ext uri="{9D8B030D-6E8A-4147-A177-3AD203B41FA5}">
                      <a16:colId xmlns:a16="http://schemas.microsoft.com/office/drawing/2014/main" val="1027567464"/>
                    </a:ext>
                  </a:extLst>
                </a:gridCol>
              </a:tblGrid>
              <a:tr h="192882">
                <a:tc>
                  <a:txBody>
                    <a:bodyPr/>
                    <a:lstStyle/>
                    <a:p>
                      <a:endParaRPr kumimoji="1" lang="ja-JP" altLang="en-US"/>
                    </a:p>
                  </a:txBody>
                  <a:tcPr>
                    <a:solidFill>
                      <a:schemeClr val="accent1"/>
                    </a:solidFill>
                  </a:tcPr>
                </a:tc>
                <a:tc>
                  <a:txBody>
                    <a:bodyPr/>
                    <a:lstStyle/>
                    <a:p>
                      <a:pPr algn="l"/>
                      <a:r>
                        <a:rPr kumimoji="1" lang="ja-JP" altLang="en-US"/>
                        <a:t>業務種別　　</a:t>
                      </a:r>
                      <a:r>
                        <a:rPr kumimoji="1" lang="en-US" altLang="ja-JP" sz="1800" b="1">
                          <a:solidFill>
                            <a:schemeClr val="bg1"/>
                          </a:solidFill>
                        </a:rPr>
                        <a:t>d.</a:t>
                      </a:r>
                      <a:r>
                        <a:rPr kumimoji="1" lang="ja-JP" altLang="en-US" sz="1800" b="1">
                          <a:solidFill>
                            <a:schemeClr val="bg1"/>
                          </a:solidFill>
                        </a:rPr>
                        <a:t>文書メンテナンス</a:t>
                      </a:r>
                      <a:endParaRPr kumimoji="1" lang="en-US" altLang="ja-JP" sz="1800" b="1">
                        <a:solidFill>
                          <a:schemeClr val="bg1"/>
                        </a:solidFill>
                      </a:endParaRPr>
                    </a:p>
                  </a:txBody>
                  <a:tcPr/>
                </a:tc>
                <a:extLst>
                  <a:ext uri="{0D108BD9-81ED-4DB2-BD59-A6C34878D82A}">
                    <a16:rowId xmlns:a16="http://schemas.microsoft.com/office/drawing/2014/main" val="2838924240"/>
                  </a:ext>
                </a:extLst>
              </a:tr>
              <a:tr h="1988406">
                <a:tc>
                  <a:txBody>
                    <a:bodyPr/>
                    <a:lstStyle/>
                    <a:p>
                      <a:r>
                        <a:rPr kumimoji="1" lang="ja-JP" altLang="en-US" sz="1400" b="1">
                          <a:solidFill>
                            <a:schemeClr val="bg1"/>
                          </a:solidFill>
                        </a:rPr>
                        <a:t>利用者</a:t>
                      </a:r>
                    </a:p>
                  </a:txBody>
                  <a:tcPr vert="wordArtVertRtl" anchor="ctr" anchorCtr="1">
                    <a:solidFill>
                      <a:schemeClr val="accent1"/>
                    </a:solidFill>
                  </a:tcPr>
                </a:tc>
                <a:tc>
                  <a:txBody>
                    <a:bodyPr/>
                    <a:lstStyle/>
                    <a:p>
                      <a:endParaRPr kumimoji="1" lang="ja-JP" altLang="en-US"/>
                    </a:p>
                  </a:txBody>
                  <a:tcPr/>
                </a:tc>
                <a:extLst>
                  <a:ext uri="{0D108BD9-81ED-4DB2-BD59-A6C34878D82A}">
                    <a16:rowId xmlns:a16="http://schemas.microsoft.com/office/drawing/2014/main" val="3028206946"/>
                  </a:ext>
                </a:extLst>
              </a:tr>
            </a:tbl>
          </a:graphicData>
        </a:graphic>
      </p:graphicFrame>
      <p:sp>
        <p:nvSpPr>
          <p:cNvPr id="13" name="四角形: 角を丸くする 12">
            <a:extLst>
              <a:ext uri="{FF2B5EF4-FFF2-40B4-BE49-F238E27FC236}">
                <a16:creationId xmlns:a16="http://schemas.microsoft.com/office/drawing/2014/main" id="{22ECFFBA-584D-0208-9494-3F6A561CEFA6}"/>
              </a:ext>
            </a:extLst>
          </p:cNvPr>
          <p:cNvSpPr/>
          <p:nvPr/>
        </p:nvSpPr>
        <p:spPr>
          <a:xfrm>
            <a:off x="941337" y="2105356"/>
            <a:ext cx="1449437" cy="575567"/>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文書メンテナンス発生</a:t>
            </a:r>
            <a:endParaRPr kumimoji="1" lang="en-US" altLang="ja-JP" sz="1200">
              <a:solidFill>
                <a:schemeClr val="tx1"/>
              </a:solidFill>
            </a:endParaRPr>
          </a:p>
        </p:txBody>
      </p:sp>
      <p:sp>
        <p:nvSpPr>
          <p:cNvPr id="14" name="正方形/長方形 13">
            <a:extLst>
              <a:ext uri="{FF2B5EF4-FFF2-40B4-BE49-F238E27FC236}">
                <a16:creationId xmlns:a16="http://schemas.microsoft.com/office/drawing/2014/main" id="{CA212066-292B-6811-E469-469059AAEFED}"/>
              </a:ext>
            </a:extLst>
          </p:cNvPr>
          <p:cNvSpPr/>
          <p:nvPr/>
        </p:nvSpPr>
        <p:spPr>
          <a:xfrm>
            <a:off x="3238285" y="2088436"/>
            <a:ext cx="1029616" cy="609406"/>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事業所変更</a:t>
            </a:r>
            <a:endParaRPr kumimoji="1" lang="en-US" altLang="ja-JP" sz="1100" b="0" i="0" u="none" strike="noStrike" kern="1200" cap="none" spc="0" normalizeH="0" baseline="0" noProof="0">
              <a:ln>
                <a:noFill/>
              </a:ln>
              <a:solidFill>
                <a:prstClr val="black"/>
              </a:solidFill>
              <a:effectLst/>
              <a:uLnTx/>
              <a:uFillTx/>
              <a:latin typeface="Yu Gothic UI"/>
              <a:ea typeface="Yu Gothic UI"/>
              <a:cs typeface="+mn-cs"/>
            </a:endParaRPr>
          </a:p>
        </p:txBody>
      </p:sp>
      <p:cxnSp>
        <p:nvCxnSpPr>
          <p:cNvPr id="16" name="直線矢印コネクタ 15">
            <a:extLst>
              <a:ext uri="{FF2B5EF4-FFF2-40B4-BE49-F238E27FC236}">
                <a16:creationId xmlns:a16="http://schemas.microsoft.com/office/drawing/2014/main" id="{A5E3E74D-35D3-6098-14C3-7B354C66E604}"/>
              </a:ext>
            </a:extLst>
          </p:cNvPr>
          <p:cNvCxnSpPr>
            <a:cxnSpLocks/>
            <a:stCxn id="13" idx="3"/>
            <a:endCxn id="14" idx="1"/>
          </p:cNvCxnSpPr>
          <p:nvPr/>
        </p:nvCxnSpPr>
        <p:spPr>
          <a:xfrm flipV="1">
            <a:off x="2390774" y="2393139"/>
            <a:ext cx="847511"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四角形: 角を丸くする 16">
            <a:extLst>
              <a:ext uri="{FF2B5EF4-FFF2-40B4-BE49-F238E27FC236}">
                <a16:creationId xmlns:a16="http://schemas.microsoft.com/office/drawing/2014/main" id="{B2166DA8-7DFA-3949-3211-38F2350F65BE}"/>
              </a:ext>
            </a:extLst>
          </p:cNvPr>
          <p:cNvSpPr/>
          <p:nvPr/>
        </p:nvSpPr>
        <p:spPr>
          <a:xfrm>
            <a:off x="5771453" y="2042348"/>
            <a:ext cx="677909" cy="701584"/>
          </a:xfrm>
          <a:prstGeom prst="roundRect">
            <a:avLst>
              <a:gd name="adj" fmla="val 25065"/>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完了</a:t>
            </a:r>
          </a:p>
        </p:txBody>
      </p:sp>
      <p:cxnSp>
        <p:nvCxnSpPr>
          <p:cNvPr id="19" name="直線矢印コネクタ 18">
            <a:extLst>
              <a:ext uri="{FF2B5EF4-FFF2-40B4-BE49-F238E27FC236}">
                <a16:creationId xmlns:a16="http://schemas.microsoft.com/office/drawing/2014/main" id="{65522D4B-AF85-33C0-8178-FA89C130C70B}"/>
              </a:ext>
            </a:extLst>
          </p:cNvPr>
          <p:cNvCxnSpPr>
            <a:cxnSpLocks/>
            <a:stCxn id="14" idx="3"/>
          </p:cNvCxnSpPr>
          <p:nvPr/>
        </p:nvCxnSpPr>
        <p:spPr>
          <a:xfrm>
            <a:off x="4267901" y="2393139"/>
            <a:ext cx="150355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正方形/長方形 24">
            <a:extLst>
              <a:ext uri="{FF2B5EF4-FFF2-40B4-BE49-F238E27FC236}">
                <a16:creationId xmlns:a16="http://schemas.microsoft.com/office/drawing/2014/main" id="{68194D2B-099A-F1D3-6599-5569453C74B9}"/>
              </a:ext>
            </a:extLst>
          </p:cNvPr>
          <p:cNvSpPr/>
          <p:nvPr/>
        </p:nvSpPr>
        <p:spPr>
          <a:xfrm>
            <a:off x="3753093" y="1934943"/>
            <a:ext cx="1449437" cy="2823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ü"/>
            </a:pPr>
            <a:endParaRPr kumimoji="1" lang="ja-JP" altLang="en-US" sz="900">
              <a:solidFill>
                <a:schemeClr val="tx1"/>
              </a:solidFill>
            </a:endParaRPr>
          </a:p>
        </p:txBody>
      </p:sp>
      <p:sp>
        <p:nvSpPr>
          <p:cNvPr id="7" name="テキスト ボックス 6">
            <a:extLst>
              <a:ext uri="{FF2B5EF4-FFF2-40B4-BE49-F238E27FC236}">
                <a16:creationId xmlns:a16="http://schemas.microsoft.com/office/drawing/2014/main" id="{31E2CD7B-6679-4B77-57A2-6A18C935C075}"/>
              </a:ext>
            </a:extLst>
          </p:cNvPr>
          <p:cNvSpPr txBox="1"/>
          <p:nvPr/>
        </p:nvSpPr>
        <p:spPr>
          <a:xfrm>
            <a:off x="6041413" y="941442"/>
            <a:ext cx="622066" cy="230832"/>
          </a:xfrm>
          <a:prstGeom prst="rect">
            <a:avLst/>
          </a:prstGeom>
          <a:noFill/>
        </p:spPr>
        <p:txBody>
          <a:bodyPr wrap="square">
            <a:spAutoFit/>
          </a:bodyPr>
          <a:lstStyle/>
          <a:p>
            <a:r>
              <a:rPr kumimoji="1" lang="ja-JP" altLang="en-US" sz="900">
                <a:solidFill>
                  <a:schemeClr val="tx1"/>
                </a:solidFill>
              </a:rPr>
              <a:t>凡例：</a:t>
            </a:r>
            <a:endParaRPr kumimoji="1" lang="en-US" altLang="ja-JP" sz="900">
              <a:solidFill>
                <a:schemeClr val="tx1"/>
              </a:solidFill>
            </a:endParaRPr>
          </a:p>
        </p:txBody>
      </p:sp>
      <p:cxnSp>
        <p:nvCxnSpPr>
          <p:cNvPr id="8" name="直線コネクタ 7">
            <a:extLst>
              <a:ext uri="{FF2B5EF4-FFF2-40B4-BE49-F238E27FC236}">
                <a16:creationId xmlns:a16="http://schemas.microsoft.com/office/drawing/2014/main" id="{FAA9577F-7AD3-A391-0BE0-558CA82DCA30}"/>
              </a:ext>
            </a:extLst>
          </p:cNvPr>
          <p:cNvCxnSpPr>
            <a:cxnSpLocks/>
          </p:cNvCxnSpPr>
          <p:nvPr/>
        </p:nvCxnSpPr>
        <p:spPr>
          <a:xfrm>
            <a:off x="6663479" y="1060541"/>
            <a:ext cx="469371" cy="0"/>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テキスト ボックス 1">
            <a:extLst>
              <a:ext uri="{FF2B5EF4-FFF2-40B4-BE49-F238E27FC236}">
                <a16:creationId xmlns:a16="http://schemas.microsoft.com/office/drawing/2014/main" id="{9DFAAFF7-EEDD-A700-7CFB-F14AF1FAFA01}"/>
              </a:ext>
            </a:extLst>
          </p:cNvPr>
          <p:cNvSpPr txBox="1"/>
          <p:nvPr/>
        </p:nvSpPr>
        <p:spPr>
          <a:xfrm>
            <a:off x="6112932" y="1381063"/>
            <a:ext cx="3097382" cy="338554"/>
          </a:xfrm>
          <a:prstGeom prst="rect">
            <a:avLst/>
          </a:prstGeom>
          <a:noFill/>
        </p:spPr>
        <p:txBody>
          <a:bodyPr wrap="square">
            <a:spAutoFit/>
          </a:bodyPr>
          <a:lstStyle/>
          <a:p>
            <a:r>
              <a:rPr lang="en-US" altLang="ja-JP" sz="800"/>
              <a:t>※</a:t>
            </a:r>
            <a:r>
              <a:rPr lang="ja-JP" altLang="en-US" sz="800"/>
              <a:t>本</a:t>
            </a:r>
            <a:r>
              <a:rPr lang="en-US" altLang="ja-JP" sz="800"/>
              <a:t>WF</a:t>
            </a:r>
            <a:r>
              <a:rPr lang="ja-JP" altLang="en-US" sz="800"/>
              <a:t>は機能の全体感を示すために記載しています</a:t>
            </a:r>
            <a:endParaRPr lang="en-US" altLang="ja-JP" sz="800"/>
          </a:p>
          <a:p>
            <a:r>
              <a:rPr kumimoji="1" lang="ja-JP" altLang="en-US" sz="800">
                <a:solidFill>
                  <a:schemeClr val="tx1"/>
                </a:solidFill>
              </a:rPr>
              <a:t>　分岐としての差戻は機能一覧に記載しています</a:t>
            </a:r>
            <a:endParaRPr kumimoji="1" lang="en-US" altLang="ja-JP" sz="800">
              <a:solidFill>
                <a:schemeClr val="tx1"/>
              </a:solidFill>
            </a:endParaRPr>
          </a:p>
        </p:txBody>
      </p:sp>
      <p:sp>
        <p:nvSpPr>
          <p:cNvPr id="10" name="テキスト プレースホルダー 4">
            <a:extLst>
              <a:ext uri="{FF2B5EF4-FFF2-40B4-BE49-F238E27FC236}">
                <a16:creationId xmlns:a16="http://schemas.microsoft.com/office/drawing/2014/main" id="{A9A40247-83B7-1259-20B4-DEB7B57B1CFC}"/>
              </a:ext>
            </a:extLst>
          </p:cNvPr>
          <p:cNvSpPr txBox="1">
            <a:spLocks/>
          </p:cNvSpPr>
          <p:nvPr/>
        </p:nvSpPr>
        <p:spPr>
          <a:xfrm>
            <a:off x="251524" y="1052963"/>
            <a:ext cx="8640950" cy="365125"/>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kumimoji="1" sz="2400" kern="1200">
                <a:solidFill>
                  <a:schemeClr val="tx1"/>
                </a:solidFill>
                <a:latin typeface="Yu Gothic UI" panose="020B0500000000000000" pitchFamily="50" charset="-128"/>
                <a:ea typeface="Yu Gothic UI" panose="020B0500000000000000" pitchFamily="50" charset="-128"/>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kumimoji="1" sz="2000" kern="1200">
                <a:solidFill>
                  <a:schemeClr val="tx1"/>
                </a:solidFill>
                <a:latin typeface="Yu Gothic UI" panose="020B0500000000000000" pitchFamily="50" charset="-128"/>
                <a:ea typeface="Yu Gothic UI" panose="020B0500000000000000" pitchFamily="50" charset="-128"/>
                <a:cs typeface="+mn-cs"/>
              </a:defRPr>
            </a:lvl2pPr>
            <a:lvl3pPr marL="1143000" indent="-228600" algn="l" defTabSz="914400" rtl="0" eaLnBrk="1" latinLnBrk="0" hangingPunct="1">
              <a:spcBef>
                <a:spcPct val="20000"/>
              </a:spcBef>
              <a:buFont typeface="Arial" panose="020B0604020202020204" pitchFamily="34" charset="0"/>
              <a:buChar char="•"/>
              <a:defRPr kumimoji="1" sz="1800" kern="1200" baseline="0">
                <a:solidFill>
                  <a:schemeClr val="tx1"/>
                </a:solidFill>
                <a:latin typeface="Yu Gothic UI" panose="020B0500000000000000" pitchFamily="50" charset="-128"/>
                <a:ea typeface="Yu Gothic UI" panose="020B0500000000000000" pitchFamily="50" charset="-128"/>
                <a:cs typeface="+mn-cs"/>
              </a:defRPr>
            </a:lvl3pPr>
            <a:lvl4pPr marL="16002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4pPr>
            <a:lvl5pPr marL="2057400" indent="-228600" algn="l" defTabSz="914400" rtl="0" eaLnBrk="1" latinLnBrk="0" hangingPunct="1">
              <a:spcBef>
                <a:spcPct val="20000"/>
              </a:spcBef>
              <a:buFont typeface="Arial" panose="020B0604020202020204" pitchFamily="34" charset="0"/>
              <a:buChar char="»"/>
              <a:defRPr kumimoji="1" sz="1600" kern="1200" baseline="0">
                <a:solidFill>
                  <a:schemeClr val="tx1"/>
                </a:solidFill>
                <a:latin typeface="Yu Gothic UI" panose="020B0500000000000000" pitchFamily="50" charset="-128"/>
                <a:ea typeface="Yu Gothic UI" panose="020B0500000000000000" pitchFamily="50" charset="-128"/>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1800"/>
              <a:t>(3)</a:t>
            </a:r>
            <a:r>
              <a:rPr lang="ja-JP" altLang="en-US" sz="1800"/>
              <a:t>業務フロー</a:t>
            </a:r>
            <a:endParaRPr kumimoji="1" lang="en-US" altLang="zh-TW" sz="1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
        <p:nvSpPr>
          <p:cNvPr id="11" name="スライド番号プレースホルダー 1">
            <a:extLst>
              <a:ext uri="{FF2B5EF4-FFF2-40B4-BE49-F238E27FC236}">
                <a16:creationId xmlns:a16="http://schemas.microsoft.com/office/drawing/2014/main" id="{015BAA57-CED1-EF41-47E1-E493720FBB69}"/>
              </a:ext>
            </a:extLst>
          </p:cNvPr>
          <p:cNvSpPr>
            <a:spLocks noGrp="1"/>
          </p:cNvSpPr>
          <p:nvPr>
            <p:ph type="sldNum" sz="quarter" idx="12"/>
          </p:nvPr>
        </p:nvSpPr>
        <p:spPr>
          <a:xfrm>
            <a:off x="3505200" y="6356352"/>
            <a:ext cx="2133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8139188-682B-46B8-8E3A-C32D863D2EEC}" type="slidenum">
              <a:rPr kumimoji="1" lang="ja-JP" altLang="en-US" sz="1200" b="0" i="0" u="none" strike="noStrike" kern="1200" cap="none" spc="0" normalizeH="0" baseline="0" noProof="0" smtClean="0">
                <a:ln>
                  <a:noFill/>
                </a:ln>
                <a:solidFill>
                  <a:prstClr val="black"/>
                </a:solidFill>
                <a:effectLst/>
                <a:uLnTx/>
                <a:uFillTx/>
                <a:latin typeface="Yu Gothic UI" panose="020B0500000000000000" pitchFamily="50" charset="-128"/>
                <a:ea typeface="Yu Gothic UI" panose="020B0500000000000000" pitchFamily="50"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1" lang="ja-JP" altLang="en-US" sz="12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9" name="テキスト ボックス 8">
            <a:extLst>
              <a:ext uri="{FF2B5EF4-FFF2-40B4-BE49-F238E27FC236}">
                <a16:creationId xmlns:a16="http://schemas.microsoft.com/office/drawing/2014/main" id="{2C6D1BB8-53BD-D5EC-75C5-DCA3FCBC2492}"/>
              </a:ext>
            </a:extLst>
          </p:cNvPr>
          <p:cNvSpPr txBox="1"/>
          <p:nvPr/>
        </p:nvSpPr>
        <p:spPr>
          <a:xfrm>
            <a:off x="7132849" y="941442"/>
            <a:ext cx="1939149" cy="230832"/>
          </a:xfrm>
          <a:prstGeom prst="rect">
            <a:avLst/>
          </a:prstGeom>
          <a:noFill/>
        </p:spPr>
        <p:txBody>
          <a:bodyPr wrap="square">
            <a:spAutoFit/>
          </a:body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US" altLang="ja-JP" sz="900"/>
              <a:t>2.</a:t>
            </a:r>
            <a:r>
              <a:rPr kumimoji="1" lang="ja-JP" altLang="en-US" sz="900"/>
              <a:t>機能要件</a:t>
            </a:r>
            <a:r>
              <a:rPr kumimoji="1" lang="en-US" altLang="ja-JP" sz="900"/>
              <a:t>(1)</a:t>
            </a:r>
            <a:r>
              <a:rPr kumimoji="1" lang="ja-JP" altLang="en-US" sz="900"/>
              <a:t>機能要件一覧参照</a:t>
            </a:r>
            <a:endParaRPr kumimoji="1" lang="en-US" altLang="zh-TW"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spTree>
    <p:extLst>
      <p:ext uri="{BB962C8B-B14F-4D97-AF65-F5344CB8AC3E}">
        <p14:creationId xmlns:p14="http://schemas.microsoft.com/office/powerpoint/2010/main" val="32935364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nfidential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a:spPr>
      <a:bodyPr lIns="72000" tIns="72000" rIns="72000" bIns="72000" rtlCol="0" anchor="t" anchorCtr="0"/>
      <a:lstStyle>
        <a:defPPr marL="171450" indent="-171450" algn="l">
          <a:buFont typeface="Wingdings" panose="05000000000000000000" pitchFamily="2" charset="2"/>
          <a:buChar char="Ø"/>
          <a:defRPr kumimoji="1" sz="1200" dirty="0" smtClean="0"/>
        </a:defPPr>
      </a:lstStyle>
      <a:style>
        <a:lnRef idx="1">
          <a:schemeClr val="accent1"/>
        </a:lnRef>
        <a:fillRef idx="0">
          <a:schemeClr val="accent1"/>
        </a:fillRef>
        <a:effectRef idx="0">
          <a:schemeClr val="accent1"/>
        </a:effectRef>
        <a:fontRef idx="minor">
          <a:schemeClr val="tx1"/>
        </a:fontRef>
      </a:style>
    </a:spDef>
    <a:lnDef>
      <a:spPr>
        <a:ln w="6350" cap="flat" cmpd="sng" algn="ctr">
          <a:solidFill>
            <a:schemeClr val="tx1"/>
          </a:solidFill>
          <a:prstDash val="solid"/>
          <a:miter lim="800000"/>
          <a:headEnd type="none" w="med" len="med"/>
          <a:tailEnd type="triangle" w="med" len="med"/>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solidFill>
            <a:schemeClr val="tx1"/>
          </a:solidFill>
          <a:prstDash val="solid"/>
          <a:round/>
          <a:headEnd type="oval" w="med" len="med"/>
          <a:tailEnd type="oval" w="med" len="med"/>
        </a:ln>
      </a:spPr>
      <a:bodyPr wrap="square" lIns="36000" tIns="36000" rIns="36000" bIns="36000" rtlCol="0" anchor="ctr" anchorCtr="0">
        <a:noAutofit/>
      </a:bodyPr>
      <a:lstStyle>
        <a:defPPr marL="171450" indent="-171450" algn="l">
          <a:buFont typeface="Arial" panose="020B0604020202020204" pitchFamily="34" charset="0"/>
          <a:buChar char="•"/>
          <a:defRPr kumimoji="1" sz="1200" dirty="0" smtClean="0"/>
        </a:defPPr>
      </a:lstStyle>
    </a:txDef>
  </a:objectDefaults>
  <a:extraClrSchemeLst/>
  <a:extLst>
    <a:ext uri="{05A4C25C-085E-4340-85A3-A5531E510DB2}">
      <thm15:themeFamily xmlns:thm15="http://schemas.microsoft.com/office/thememl/2012/main" name="プレゼンテーション1" id="{8745F967-B2F3-4EA6-99AF-9B454F0076DA}" vid="{593FC992-7FEC-446F-B459-DB7535F12877}"/>
    </a:ext>
  </a:extLst>
</a:theme>
</file>

<file path=ppt/theme/theme2.xml><?xml version="1.0" encoding="utf-8"?>
<a:theme xmlns:a="http://schemas.openxmlformats.org/drawingml/2006/main" name="2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72000" rIns="234000" bIns="0" anchor="t" anchorCtr="0">
        <a:noAutofit/>
      </a:bodyPr>
      <a:lstStyle>
        <a:defPPr algn="l">
          <a:defRPr dirty="0" err="1" smtClean="0"/>
        </a:defPPr>
      </a:lstStyle>
    </a:txDef>
  </a:objectDefaults>
  <a:extraClrSchemeLst/>
  <a:extLst>
    <a:ext uri="{05A4C25C-085E-4340-85A3-A5531E510DB2}">
      <thm15:themeFamily xmlns:thm15="http://schemas.microsoft.com/office/thememl/2012/main" name="プレゼンテーション1" id="{8745F967-B2F3-4EA6-99AF-9B454F0076DA}" vid="{3D5D5D83-62E7-4AF6-BCF1-7BF27C7A31E6}"/>
    </a:ext>
  </a:extLst>
</a:theme>
</file>

<file path=ppt/theme/theme3.xml><?xml version="1.0" encoding="utf-8"?>
<a:theme xmlns:a="http://schemas.openxmlformats.org/drawingml/2006/main" name="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6F5BFB66-4361-42A8-B842-A0A3AD3032EF}" vid="{D3765FD4-9D4A-4E3D-8B8F-18ADE3BA1DA2}"/>
    </a:ext>
  </a:extLst>
</a:theme>
</file>

<file path=ppt/theme/theme4.xml><?xml version="1.0" encoding="utf-8"?>
<a:theme xmlns:a="http://schemas.openxmlformats.org/drawingml/2006/main" name="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2" id="{88DB3BCA-4D10-463F-9C84-D370C676445B}" vid="{562801A4-519A-43D4-815C-034FB569229F}"/>
    </a:ext>
  </a:extLst>
</a:theme>
</file>

<file path=ppt/theme/theme5.xml><?xml version="1.0" encoding="utf-8"?>
<a:theme xmlns:a="http://schemas.openxmlformats.org/drawingml/2006/main" name="2_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2" id="{88DB3BCA-4D10-463F-9C84-D370C676445B}" vid="{562801A4-519A-43D4-815C-034FB569229F}"/>
    </a:ext>
  </a:extLst>
</a:theme>
</file>

<file path=ppt/theme/theme6.xml><?xml version="1.0" encoding="utf-8"?>
<a:theme xmlns:a="http://schemas.openxmlformats.org/drawingml/2006/main" name="MCC_jp_Confidential">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YU Gothic UI_ALL">
      <a:majorFont>
        <a:latin typeface="Yu Gothic UI"/>
        <a:ea typeface="Yu Gothic UI"/>
        <a:cs typeface=""/>
      </a:majorFont>
      <a:minorFont>
        <a:latin typeface="Yu Gothic U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CC"/>
        </a:solidFill>
        <a:ln>
          <a:noFill/>
        </a:ln>
      </a:spPr>
      <a:bodyPr rtlCol="0" anchor="ctr"/>
      <a:lstStyle>
        <a:defPPr algn="ctr">
          <a:defRPr dirty="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txDef>
      <a:spPr/>
      <a:bodyPr vert="horz" wrap="square" lIns="91440" tIns="45720" rIns="91440" bIns="45720" rtlCol="0" anchor="b">
        <a:spAutoFit/>
      </a:bodyPr>
      <a:lstStyle>
        <a:defPPr marL="0" indent="0" algn="l">
          <a:buFont typeface="Arial" panose="020B0604020202020204" pitchFamily="34" charset="0"/>
          <a:buNone/>
          <a:defRPr kumimoji="1" sz="2400" dirty="0" smtClean="0">
            <a:solidFill>
              <a:schemeClr val="tx1"/>
            </a:solidFill>
            <a:latin typeface="Yu Gothic UI" panose="020B0500000000000000" pitchFamily="50" charset="-128"/>
            <a:ea typeface="Yu Gothic UI" panose="020B0500000000000000" pitchFamily="50" charset="-128"/>
          </a:defRPr>
        </a:defPPr>
      </a:lstStyle>
    </a:txDef>
  </a:objectDefaults>
  <a:extraClrSchemeLst/>
  <a:extLst>
    <a:ext uri="{05A4C25C-085E-4340-85A3-A5531E510DB2}">
      <thm15:themeFamily xmlns:thm15="http://schemas.microsoft.com/office/thememl/2012/main" name="MCC format01_J_4.3_20190709_r3.potx" id="{706F40C0-5A65-425C-87DF-57ABD4103E3E}" vid="{63456B7C-920F-4FA9-AC2C-D07E1CCE35FF}"/>
    </a:ext>
  </a:extLst>
</a:theme>
</file>

<file path=ppt/theme/theme7.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D8FCBCAB954336408DEB4A5D02F0741B" ma:contentTypeVersion="20" ma:contentTypeDescription="新しいドキュメントを作成します。" ma:contentTypeScope="" ma:versionID="f961dddaeff2f93d5470b5af79597af6">
  <xsd:schema xmlns:xsd="http://www.w3.org/2001/XMLSchema" xmlns:xs="http://www.w3.org/2001/XMLSchema" xmlns:p="http://schemas.microsoft.com/office/2006/metadata/properties" xmlns:ns2="9bcccf7a-90e7-4c41-b561-df0396e3d8d6" xmlns:ns3="bd230ec0-5253-49d5-b08f-f3f2f62a1ffc" targetNamespace="http://schemas.microsoft.com/office/2006/metadata/properties" ma:root="true" ma:fieldsID="ef5005ed78bffd3de17cfce921e1dc28" ns2:_="" ns3:_="">
    <xsd:import namespace="9bcccf7a-90e7-4c41-b561-df0396e3d8d6"/>
    <xsd:import namespace="bd230ec0-5253-49d5-b08f-f3f2f62a1ff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element ref="ns3:SharedWithUsers" minOccurs="0"/>
                <xsd:element ref="ns3:SharedWithDetails" minOccurs="0"/>
                <xsd:element ref="ns2:MediaLengthInSeconds" minOccurs="0"/>
                <xsd:element ref="ns2:MediaServiceGenerationTime" minOccurs="0"/>
                <xsd:element ref="ns2:MediaServiceEventHashCode" minOccurs="0"/>
                <xsd:element ref="ns2:lcf76f155ced4ddcb4097134ff3c332f" minOccurs="0"/>
                <xsd:element ref="ns3:TaxCatchAll" minOccurs="0"/>
                <xsd:element ref="ns2:_x3042__x3042__x3042_" minOccurs="0"/>
                <xsd:element ref="ns2:_x0054_ag2" minOccurs="0"/>
                <xsd:element ref="ns2:_x0054_ag3"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cccf7a-90e7-4c41-b561-df0396e3d8d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LengthInSeconds" ma:index="16" nillable="true" ma:displayName="MediaLengthInSeconds" ma:hidden="true" ma:internalName="MediaLengthInSeconds" ma:readOnly="true">
      <xsd:simpleType>
        <xsd:restriction base="dms:Unknow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lcf76f155ced4ddcb4097134ff3c332f" ma:index="20" nillable="true" ma:taxonomy="true" ma:internalName="lcf76f155ced4ddcb4097134ff3c332f" ma:taxonomyFieldName="MediaServiceImageTags" ma:displayName="画像タグ" ma:readOnly="false" ma:fieldId="{5cf76f15-5ced-4ddc-b409-7134ff3c332f}" ma:taxonomyMulti="true" ma:sspId="08ec21e9-19a1-4e51-8266-82527bcf3341" ma:termSetId="09814cd3-568e-fe90-9814-8d621ff8fb84" ma:anchorId="fba54fb3-c3e1-fe81-a776-ca4b69148c4d" ma:open="true" ma:isKeyword="false">
      <xsd:complexType>
        <xsd:sequence>
          <xsd:element ref="pc:Terms" minOccurs="0" maxOccurs="1"/>
        </xsd:sequence>
      </xsd:complexType>
    </xsd:element>
    <xsd:element name="_x3042__x3042__x3042_" ma:index="22" nillable="true" ma:displayName="あああ" ma:format="Dropdown" ma:internalName="_x3042__x3042__x3042_">
      <xsd:simpleType>
        <xsd:union memberTypes="dms:Text">
          <xsd:simpleType>
            <xsd:restriction base="dms:Choice">
              <xsd:enumeration value="選択肢 1"/>
            </xsd:restriction>
          </xsd:simpleType>
        </xsd:union>
      </xsd:simpleType>
    </xsd:element>
    <xsd:element name="_x0054_ag2" ma:index="23" nillable="true" ma:displayName="Tag2" ma:format="Dropdown" ma:internalName="_x0054_ag2">
      <xsd:simpleType>
        <xsd:union memberTypes="dms:Text">
          <xsd:simpleType>
            <xsd:restriction base="dms:Choice">
              <xsd:enumeration value="選択肢 1"/>
              <xsd:enumeration value="選択肢 2"/>
              <xsd:enumeration value="選択肢 3"/>
            </xsd:restriction>
          </xsd:simpleType>
        </xsd:union>
      </xsd:simpleType>
    </xsd:element>
    <xsd:element name="_x0054_ag3" ma:index="24" nillable="true" ma:displayName="Tag3" ma:format="Dropdown" ma:internalName="_x0054_ag3">
      <xsd:simpleType>
        <xsd:union memberTypes="dms:Text">
          <xsd:simpleType>
            <xsd:restriction base="dms:Choice">
              <xsd:enumeration value="選択肢 1"/>
              <xsd:enumeration value="選択肢 2"/>
              <xsd:enumeration value="選択肢 3"/>
            </xsd:restriction>
          </xsd:simpleType>
        </xsd:union>
      </xsd:simple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d230ec0-5253-49d5-b08f-f3f2f62a1ffc" elementFormDefault="qualified">
    <xsd:import namespace="http://schemas.microsoft.com/office/2006/documentManagement/types"/>
    <xsd:import namespace="http://schemas.microsoft.com/office/infopath/2007/PartnerControls"/>
    <xsd:element name="SharedWithUsers" ma:index="14"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共有相手の詳細情報" ma:internalName="SharedWithDetails" ma:readOnly="true">
      <xsd:simpleType>
        <xsd:restriction base="dms:Note">
          <xsd:maxLength value="255"/>
        </xsd:restriction>
      </xsd:simpleType>
    </xsd:element>
    <xsd:element name="TaxCatchAll" ma:index="21" nillable="true" ma:displayName="Taxonomy Catch All Column" ma:hidden="true" ma:list="{3c69b169-0e59-4a18-807b-6ebd83c52ca6}" ma:internalName="TaxCatchAll" ma:showField="CatchAllData" ma:web="bd230ec0-5253-49d5-b08f-f3f2f62a1ff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9bcccf7a-90e7-4c41-b561-df0396e3d8d6">
      <Terms xmlns="http://schemas.microsoft.com/office/infopath/2007/PartnerControls"/>
    </lcf76f155ced4ddcb4097134ff3c332f>
    <TaxCatchAll xmlns="bd230ec0-5253-49d5-b08f-f3f2f62a1ffc" xsi:nil="true"/>
    <_x0054_ag3 xmlns="9bcccf7a-90e7-4c41-b561-df0396e3d8d6" xsi:nil="true"/>
    <_x0054_ag2 xmlns="9bcccf7a-90e7-4c41-b561-df0396e3d8d6" xsi:nil="true"/>
    <_x3042__x3042__x3042_ xmlns="9bcccf7a-90e7-4c41-b561-df0396e3d8d6"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E2219E0-1F0B-4B0A-935D-BECF109EA20E}"/>
</file>

<file path=customXml/itemProps2.xml><?xml version="1.0" encoding="utf-8"?>
<ds:datastoreItem xmlns:ds="http://schemas.openxmlformats.org/officeDocument/2006/customXml" ds:itemID="{E31EB569-1790-46AF-B846-C3C8AF03910D}">
  <ds:schemaRefs>
    <ds:schemaRef ds:uri="1e4a447b-9560-42e8-893e-f4215a3220b6"/>
    <ds:schemaRef ds:uri="596019e9-1edf-4dc1-99fb-682fc8d8773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216C17B-9ACF-4273-9EF4-F7A543FAF213}">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MCG_jp_rev1</Template>
  <Application>Microsoft Office PowerPoint</Application>
  <PresentationFormat>On-screen Show (4:3)</PresentationFormat>
  <Slides>49</Slides>
  <Notes>1</Notes>
  <HiddenSlides>0</HiddenSlides>
  <ScaleCrop>false</ScaleCrop>
  <HeadingPairs>
    <vt:vector size="4" baseType="variant">
      <vt:variant>
        <vt:lpstr>Theme</vt:lpstr>
      </vt:variant>
      <vt:variant>
        <vt:i4>6</vt:i4>
      </vt:variant>
      <vt:variant>
        <vt:lpstr>Slide Titles</vt:lpstr>
      </vt:variant>
      <vt:variant>
        <vt:i4>49</vt:i4>
      </vt:variant>
    </vt:vector>
  </HeadingPairs>
  <TitlesOfParts>
    <vt:vector size="55" baseType="lpstr">
      <vt:lpstr>1_Confidential_Main template_Blue and Cool gray</vt:lpstr>
      <vt:lpstr>2_Main template_Blue and Cool gray</vt:lpstr>
      <vt:lpstr>DT Template_A4_J_202201</vt:lpstr>
      <vt:lpstr>DT Template_16:9_J_202201</vt:lpstr>
      <vt:lpstr>2_DT Template_16:9_J_202201</vt:lpstr>
      <vt:lpstr>MCC_jp_Confidential</vt:lpstr>
      <vt:lpstr>PowerPoint Presentation</vt:lpstr>
      <vt:lpstr>目次</vt:lpstr>
      <vt:lpstr>１．業務要件</vt:lpstr>
      <vt:lpstr>１．業務要件</vt:lpstr>
      <vt:lpstr>１．業務要件</vt:lpstr>
      <vt:lpstr>１．業務要件</vt:lpstr>
      <vt:lpstr>１．業務要件</vt:lpstr>
      <vt:lpstr>１．業務要件</vt:lpstr>
      <vt:lpstr>１．業務要件</vt:lpstr>
      <vt:lpstr>１．業務要件</vt:lpstr>
      <vt:lpstr>１．業務要件</vt:lpstr>
      <vt:lpstr>１．業務要件</vt:lpstr>
      <vt:lpstr>１．業務要件</vt:lpstr>
      <vt:lpstr>１．業務要件</vt:lpstr>
      <vt:lpstr>１．業務要件</vt:lpstr>
      <vt:lpstr>１．業務要件</vt:lpstr>
      <vt:lpstr>２．機能要件</vt:lpstr>
      <vt:lpstr>２．機能要件</vt:lpstr>
      <vt:lpstr>２．機能要件</vt:lpstr>
      <vt:lpstr>２．機能要件</vt:lpstr>
      <vt:lpstr>２．機能要件</vt:lpstr>
      <vt:lpstr>２．機能要件</vt:lpstr>
      <vt:lpstr>２．機能要件</vt:lpstr>
      <vt:lpstr>２．機能要件</vt:lpstr>
      <vt:lpstr>２．機能要件</vt:lpstr>
      <vt:lpstr>２．機能要件</vt:lpstr>
      <vt:lpstr>２．機能要件</vt:lpstr>
      <vt:lpstr>２．機能要件</vt:lpstr>
      <vt:lpstr>２．機能要件</vt:lpstr>
      <vt:lpstr>２．機能要件</vt:lpstr>
      <vt:lpstr>２．機能要件</vt:lpstr>
      <vt:lpstr>２．機能要件</vt:lpstr>
      <vt:lpstr>２．機能要件</vt:lpstr>
      <vt:lpstr>２．機能要件</vt:lpstr>
      <vt:lpstr>２．機能要件</vt:lpstr>
      <vt:lpstr>２．機能要件</vt:lpstr>
      <vt:lpstr>２．機能要件</vt:lpstr>
      <vt:lpstr>２．機能要件</vt:lpstr>
      <vt:lpstr>２．機能要件</vt:lpstr>
      <vt:lpstr>２．機能要件</vt:lpstr>
      <vt:lpstr>２．機能要件</vt:lpstr>
      <vt:lpstr>２．機能要件</vt:lpstr>
      <vt:lpstr>２．機能要件</vt:lpstr>
      <vt:lpstr>２．機能要件</vt:lpstr>
      <vt:lpstr>２．機能要件</vt:lpstr>
      <vt:lpstr>３．非機能要件 </vt:lpstr>
      <vt:lpstr>３．非機能要件 </vt:lpstr>
      <vt:lpstr>３．非機能要件 </vt:lpstr>
      <vt:lpstr>３．非機能要件 </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subject/>
  <dc:creator>Administrator</dc:creator>
  <cp:keywords/>
  <dc:description/>
  <cp:revision>1</cp:revision>
  <dcterms:created xsi:type="dcterms:W3CDTF">2023-05-25T05:41:10Z</dcterms:created>
  <dcterms:modified xsi:type="dcterms:W3CDTF">2025-07-11T09:07:2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5-25T05:41:1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049bfcc-162e-4d78-8c9a-b897432490f3</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D8FCBCAB954336408DEB4A5D02F0741B</vt:lpwstr>
  </property>
</Properties>
</file>